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tags/tag3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0" r:id="rId2"/>
    <p:sldMasterId id="2147483652" r:id="rId3"/>
    <p:sldMasterId id="2147483654" r:id="rId4"/>
    <p:sldMasterId id="2147483656" r:id="rId5"/>
    <p:sldMasterId id="2147483664" r:id="rId6"/>
  </p:sldMasterIdLst>
  <p:notesMasterIdLst>
    <p:notesMasterId r:id="rId9"/>
  </p:notesMasterIdLst>
  <p:sldIdLst>
    <p:sldId id="341" r:id="rId7"/>
    <p:sldId id="342" r:id="rId8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9DA1A245-F24B-428B-ABC9-DED144B29728}">
          <p14:sldIdLst>
            <p14:sldId id="341"/>
            <p14:sldId id="342"/>
          </p14:sldIdLst>
        </p14:section>
        <p14:section name="素材页" id="{DC3D4C32-BCFA-484E-B81C-0A10F1E32F70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7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386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E50"/>
    <a:srgbClr val="B3BEDF"/>
    <a:srgbClr val="0288E4"/>
    <a:srgbClr val="0291F3"/>
    <a:srgbClr val="32406F"/>
    <a:srgbClr val="7991CE"/>
    <a:srgbClr val="3F6AB7"/>
    <a:srgbClr val="335899"/>
    <a:srgbClr val="3B64AD"/>
    <a:srgbClr val="001D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90" d="100"/>
          <a:sy n="90" d="100"/>
        </p:scale>
        <p:origin x="576" y="-84"/>
      </p:cViewPr>
      <p:guideLst>
        <p:guide orient="horz" pos="2167"/>
        <p:guide pos="3840"/>
        <p:guide orient="horz" pos="386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4" d="100"/>
          <a:sy n="64" d="100"/>
        </p:scale>
        <p:origin x="2640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人均工单完成量</a:t>
            </a:r>
          </a:p>
        </c:rich>
      </c:tx>
      <c:overlay val="0"/>
      <c:spPr>
        <a:noFill/>
        <a:ln>
          <a:noFill/>
          <a:prstDash val="solid"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  <a:prstDash val="solid"/>
            </a:ln>
          </c:spPr>
          <c:invertIfNegative val="0"/>
          <c:dLbls>
            <c:spPr>
              <a:noFill/>
              <a:ln>
                <a:noFill/>
                <a:prstDash val="solid"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均单数!$H$25:$P$25</c:f>
              <c:strCache>
                <c:ptCount val="9"/>
                <c:pt idx="0">
                  <c:v>城西</c:v>
                </c:pt>
                <c:pt idx="1">
                  <c:v>东城北</c:v>
                </c:pt>
                <c:pt idx="2">
                  <c:v>东城南</c:v>
                </c:pt>
                <c:pt idx="3">
                  <c:v>都江堰</c:v>
                </c:pt>
                <c:pt idx="4">
                  <c:v>高新</c:v>
                </c:pt>
                <c:pt idx="5">
                  <c:v>龙泉</c:v>
                </c:pt>
                <c:pt idx="6">
                  <c:v>郫都</c:v>
                </c:pt>
                <c:pt idx="7">
                  <c:v>温江</c:v>
                </c:pt>
                <c:pt idx="8">
                  <c:v>新都</c:v>
                </c:pt>
              </c:strCache>
            </c:strRef>
          </c:cat>
          <c:val>
            <c:numRef>
              <c:f>均单数!$H$33:$P$33</c:f>
              <c:numCache>
                <c:formatCode>0.0_ </c:formatCode>
                <c:ptCount val="9"/>
                <c:pt idx="0">
                  <c:v>13.725711454407106</c:v>
                </c:pt>
                <c:pt idx="1">
                  <c:v>9.051144094001236</c:v>
                </c:pt>
                <c:pt idx="2">
                  <c:v>13.197131220909416</c:v>
                </c:pt>
                <c:pt idx="3">
                  <c:v>13.821428571428571</c:v>
                </c:pt>
                <c:pt idx="4">
                  <c:v>12.801645658263306</c:v>
                </c:pt>
                <c:pt idx="5">
                  <c:v>14.56501609415696</c:v>
                </c:pt>
                <c:pt idx="6">
                  <c:v>13.963218390804597</c:v>
                </c:pt>
                <c:pt idx="7">
                  <c:v>12.719094828566879</c:v>
                </c:pt>
                <c:pt idx="8">
                  <c:v>12.8366707366707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BA-423E-8FA7-C3F652CB869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3871120"/>
        <c:axId val="1023876528"/>
      </c:barChart>
      <c:catAx>
        <c:axId val="1023871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23876528"/>
        <c:crosses val="autoZero"/>
        <c:auto val="1"/>
        <c:lblAlgn val="ctr"/>
        <c:lblOffset val="100"/>
        <c:noMultiLvlLbl val="0"/>
      </c:catAx>
      <c:valAx>
        <c:axId val="1023876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numFmt formatCode="0.0_ " sourceLinked="1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0238711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年度总工单时间</a:t>
            </a:r>
          </a:p>
        </c:rich>
      </c:tx>
      <c:layout>
        <c:manualLayout>
          <c:xMode val="edge"/>
          <c:yMode val="edge"/>
          <c:x val="0.40874179596405535"/>
          <c:y val="7.8703703703703706E-2"/>
        </c:manualLayout>
      </c:layout>
      <c:overlay val="0"/>
      <c:spPr>
        <a:noFill/>
        <a:ln>
          <a:noFill/>
          <a:prstDash val="solid"/>
        </a:ln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年度总工单时间</c:v>
          </c:tx>
          <c:spPr>
            <a:ln w="28575" cap="rnd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cat>
            <c:numRef>
              <c:f>总时长里程!$C$2:$C$43</c:f>
              <c:numCache>
                <c:formatCode>General</c:formatCode>
                <c:ptCount val="4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</c:numCache>
            </c:numRef>
          </c:cat>
          <c:val>
            <c:numRef>
              <c:f>总时长里程!$D$2:$D$43</c:f>
              <c:numCache>
                <c:formatCode>General</c:formatCode>
                <c:ptCount val="42"/>
                <c:pt idx="0">
                  <c:v>26845.819200000002</c:v>
                </c:pt>
                <c:pt idx="1">
                  <c:v>71236.5236</c:v>
                </c:pt>
                <c:pt idx="2">
                  <c:v>80789.710000000006</c:v>
                </c:pt>
                <c:pt idx="3">
                  <c:v>80005.382199999993</c:v>
                </c:pt>
                <c:pt idx="4">
                  <c:v>104898.77469999999</c:v>
                </c:pt>
                <c:pt idx="5">
                  <c:v>71804.010800000004</c:v>
                </c:pt>
                <c:pt idx="6">
                  <c:v>97895.325299999997</c:v>
                </c:pt>
                <c:pt idx="7">
                  <c:v>90686.322799999994</c:v>
                </c:pt>
                <c:pt idx="8">
                  <c:v>85082.306899999996</c:v>
                </c:pt>
                <c:pt idx="9">
                  <c:v>83421.811900000001</c:v>
                </c:pt>
                <c:pt idx="10">
                  <c:v>83180.302500000005</c:v>
                </c:pt>
                <c:pt idx="11">
                  <c:v>92268.162500000006</c:v>
                </c:pt>
                <c:pt idx="12">
                  <c:v>89342.396399999998</c:v>
                </c:pt>
                <c:pt idx="13">
                  <c:v>80220.684999999998</c:v>
                </c:pt>
                <c:pt idx="14">
                  <c:v>80008.164199999999</c:v>
                </c:pt>
                <c:pt idx="15">
                  <c:v>100662.6281</c:v>
                </c:pt>
                <c:pt idx="16">
                  <c:v>84733.043099999995</c:v>
                </c:pt>
                <c:pt idx="17">
                  <c:v>74943.275800000003</c:v>
                </c:pt>
                <c:pt idx="18">
                  <c:v>69219.633300000001</c:v>
                </c:pt>
                <c:pt idx="19">
                  <c:v>79296.552800000005</c:v>
                </c:pt>
                <c:pt idx="20">
                  <c:v>82846.534400000004</c:v>
                </c:pt>
                <c:pt idx="21">
                  <c:v>89589.638900000005</c:v>
                </c:pt>
                <c:pt idx="22">
                  <c:v>138270.7739</c:v>
                </c:pt>
                <c:pt idx="23">
                  <c:v>131405.50779999999</c:v>
                </c:pt>
                <c:pt idx="24">
                  <c:v>102973.24219999999</c:v>
                </c:pt>
                <c:pt idx="25">
                  <c:v>97130.218900000007</c:v>
                </c:pt>
                <c:pt idx="26">
                  <c:v>114401.7711</c:v>
                </c:pt>
                <c:pt idx="27">
                  <c:v>118630.1614</c:v>
                </c:pt>
                <c:pt idx="28">
                  <c:v>106474.20359999999</c:v>
                </c:pt>
                <c:pt idx="29">
                  <c:v>142799.6347</c:v>
                </c:pt>
                <c:pt idx="30">
                  <c:v>113084.3317</c:v>
                </c:pt>
                <c:pt idx="31">
                  <c:v>123352.3122</c:v>
                </c:pt>
                <c:pt idx="32">
                  <c:v>133694.3058</c:v>
                </c:pt>
                <c:pt idx="33">
                  <c:v>116285.39139999999</c:v>
                </c:pt>
                <c:pt idx="34">
                  <c:v>174025.2194</c:v>
                </c:pt>
                <c:pt idx="35">
                  <c:v>160046.6286</c:v>
                </c:pt>
                <c:pt idx="36">
                  <c:v>3425.2116999999998</c:v>
                </c:pt>
                <c:pt idx="37">
                  <c:v>20028.4725</c:v>
                </c:pt>
                <c:pt idx="38">
                  <c:v>87028.434200000003</c:v>
                </c:pt>
                <c:pt idx="39">
                  <c:v>67275.216400000005</c:v>
                </c:pt>
                <c:pt idx="40">
                  <c:v>58944.945</c:v>
                </c:pt>
                <c:pt idx="41">
                  <c:v>27677.6061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968-4687-8F27-322E86BD11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18051887"/>
        <c:axId val="1118048975"/>
      </c:lineChart>
      <c:catAx>
        <c:axId val="1118051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118048975"/>
        <c:crosses val="autoZero"/>
        <c:auto val="1"/>
        <c:lblAlgn val="ctr"/>
        <c:lblOffset val="100"/>
        <c:noMultiLvlLbl val="0"/>
      </c:catAx>
      <c:valAx>
        <c:axId val="11180489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118051887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/>
              <a:t>年度总工单里程</a:t>
            </a:r>
          </a:p>
        </c:rich>
      </c:tx>
      <c:layout>
        <c:manualLayout>
          <c:xMode val="edge"/>
          <c:yMode val="edge"/>
          <c:x val="0.41315444519231853"/>
          <c:y val="8.3333333333333329E-2"/>
        </c:manualLayout>
      </c:layout>
      <c:overlay val="0"/>
      <c:spPr>
        <a:noFill/>
        <a:ln>
          <a:noFill/>
          <a:prstDash val="solid"/>
        </a:ln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年度总工单里程</c:v>
          </c:tx>
          <c:spPr>
            <a:ln w="28575" cap="rnd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cat>
            <c:numRef>
              <c:f>总时长里程!$C$2:$C$43</c:f>
              <c:numCache>
                <c:formatCode>General</c:formatCode>
                <c:ptCount val="4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</c:numCache>
            </c:numRef>
          </c:cat>
          <c:val>
            <c:numRef>
              <c:f>总时长里程!$E$2:$E$43</c:f>
              <c:numCache>
                <c:formatCode>General</c:formatCode>
                <c:ptCount val="42"/>
                <c:pt idx="0">
                  <c:v>35955</c:v>
                </c:pt>
                <c:pt idx="1">
                  <c:v>130019</c:v>
                </c:pt>
                <c:pt idx="2">
                  <c:v>257836</c:v>
                </c:pt>
                <c:pt idx="3">
                  <c:v>108251</c:v>
                </c:pt>
                <c:pt idx="4">
                  <c:v>106754</c:v>
                </c:pt>
                <c:pt idx="5">
                  <c:v>62511</c:v>
                </c:pt>
                <c:pt idx="6">
                  <c:v>92370</c:v>
                </c:pt>
                <c:pt idx="7">
                  <c:v>139020</c:v>
                </c:pt>
                <c:pt idx="8">
                  <c:v>381395</c:v>
                </c:pt>
                <c:pt idx="9">
                  <c:v>251251</c:v>
                </c:pt>
                <c:pt idx="10">
                  <c:v>120034</c:v>
                </c:pt>
                <c:pt idx="11">
                  <c:v>131577</c:v>
                </c:pt>
                <c:pt idx="12">
                  <c:v>132336</c:v>
                </c:pt>
                <c:pt idx="13">
                  <c:v>126727</c:v>
                </c:pt>
                <c:pt idx="14">
                  <c:v>131798</c:v>
                </c:pt>
                <c:pt idx="15">
                  <c:v>140409</c:v>
                </c:pt>
                <c:pt idx="16">
                  <c:v>142618</c:v>
                </c:pt>
                <c:pt idx="17">
                  <c:v>135913</c:v>
                </c:pt>
                <c:pt idx="18">
                  <c:v>168541</c:v>
                </c:pt>
                <c:pt idx="19">
                  <c:v>137420</c:v>
                </c:pt>
                <c:pt idx="20">
                  <c:v>134235</c:v>
                </c:pt>
                <c:pt idx="21">
                  <c:v>141716</c:v>
                </c:pt>
                <c:pt idx="22">
                  <c:v>147730</c:v>
                </c:pt>
                <c:pt idx="23">
                  <c:v>131162</c:v>
                </c:pt>
                <c:pt idx="24">
                  <c:v>124918</c:v>
                </c:pt>
                <c:pt idx="25">
                  <c:v>125005</c:v>
                </c:pt>
                <c:pt idx="26">
                  <c:v>109965</c:v>
                </c:pt>
                <c:pt idx="27">
                  <c:v>152078</c:v>
                </c:pt>
                <c:pt idx="28">
                  <c:v>158819</c:v>
                </c:pt>
                <c:pt idx="29">
                  <c:v>126094</c:v>
                </c:pt>
                <c:pt idx="30">
                  <c:v>124276</c:v>
                </c:pt>
                <c:pt idx="31">
                  <c:v>124788</c:v>
                </c:pt>
                <c:pt idx="32">
                  <c:v>129267</c:v>
                </c:pt>
                <c:pt idx="33">
                  <c:v>125507</c:v>
                </c:pt>
                <c:pt idx="34">
                  <c:v>104796</c:v>
                </c:pt>
                <c:pt idx="35">
                  <c:v>59022</c:v>
                </c:pt>
                <c:pt idx="36">
                  <c:v>3270</c:v>
                </c:pt>
                <c:pt idx="37">
                  <c:v>40574</c:v>
                </c:pt>
                <c:pt idx="38">
                  <c:v>119343</c:v>
                </c:pt>
                <c:pt idx="39">
                  <c:v>108694</c:v>
                </c:pt>
                <c:pt idx="40">
                  <c:v>117587</c:v>
                </c:pt>
                <c:pt idx="41">
                  <c:v>131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FCF-4D2B-921B-AE89A8B62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98950863"/>
        <c:axId val="1598937135"/>
      </c:lineChart>
      <c:catAx>
        <c:axId val="15989508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598937135"/>
        <c:crosses val="autoZero"/>
        <c:auto val="1"/>
        <c:lblAlgn val="ctr"/>
        <c:lblOffset val="100"/>
        <c:noMultiLvlLbl val="0"/>
      </c:catAx>
      <c:valAx>
        <c:axId val="1598937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  <a:prstDash val="solid"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598950863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06481D-C086-4761-B49B-5520F23F2963}" type="datetimeFigureOut">
              <a:rPr lang="zh-CN" altLang="en-US" smtClean="0"/>
              <a:t>2022/10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6A7490-7AA0-4BFB-A6E6-39082360682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ctrTitle"/>
          </p:nvPr>
        </p:nvSpPr>
        <p:spPr>
          <a:xfrm>
            <a:off x="1516956" y="1699305"/>
            <a:ext cx="6874009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200" b="1">
                <a:solidFill>
                  <a:srgbClr val="0288E4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495186" y="4119563"/>
            <a:ext cx="492366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rgbClr val="001E5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以编辑母版副标题样式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1310640"/>
            <a:ext cx="6172200" cy="455041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1310640"/>
            <a:ext cx="3932237" cy="455834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1310640"/>
            <a:ext cx="6172200" cy="455041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1310640"/>
            <a:ext cx="3932237" cy="455834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与介绍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226185"/>
            <a:ext cx="10515600" cy="368935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838200" y="1798319"/>
            <a:ext cx="10515600" cy="37792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8" name="文本占位符 2"/>
          <p:cNvSpPr>
            <a:spLocks noGrp="1"/>
          </p:cNvSpPr>
          <p:nvPr>
            <p:ph idx="13" hasCustomPrompt="1"/>
          </p:nvPr>
        </p:nvSpPr>
        <p:spPr>
          <a:xfrm>
            <a:off x="838200" y="1226185"/>
            <a:ext cx="10515600" cy="359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内容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706245"/>
            <a:ext cx="5157787" cy="40259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255520"/>
            <a:ext cx="5157787" cy="39341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06245"/>
            <a:ext cx="5183188" cy="40259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255520"/>
            <a:ext cx="5183188" cy="39341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11" name="文本占位符 2"/>
          <p:cNvSpPr>
            <a:spLocks noGrp="1"/>
          </p:cNvSpPr>
          <p:nvPr>
            <p:ph idx="13" hasCustomPrompt="1"/>
          </p:nvPr>
        </p:nvSpPr>
        <p:spPr>
          <a:xfrm>
            <a:off x="838200" y="1226185"/>
            <a:ext cx="10515600" cy="359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内容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1717040"/>
            <a:ext cx="6172200" cy="414401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1717748"/>
            <a:ext cx="3932237" cy="41512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idx="13" hasCustomPrompt="1"/>
          </p:nvPr>
        </p:nvSpPr>
        <p:spPr>
          <a:xfrm>
            <a:off x="838200" y="1226185"/>
            <a:ext cx="10515600" cy="359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内容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1838040"/>
            <a:ext cx="6172200" cy="40230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1838960"/>
            <a:ext cx="3932237" cy="40300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9" name="文本占位符 2"/>
          <p:cNvSpPr>
            <a:spLocks noGrp="1"/>
          </p:cNvSpPr>
          <p:nvPr>
            <p:ph idx="13" hasCustomPrompt="1"/>
          </p:nvPr>
        </p:nvSpPr>
        <p:spPr>
          <a:xfrm>
            <a:off x="838200" y="1226185"/>
            <a:ext cx="10515600" cy="359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内容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ctrTitle"/>
          </p:nvPr>
        </p:nvSpPr>
        <p:spPr>
          <a:xfrm>
            <a:off x="1516956" y="1699305"/>
            <a:ext cx="6874009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200" b="1">
                <a:solidFill>
                  <a:srgbClr val="001E50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495186" y="4119563"/>
            <a:ext cx="492366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rgbClr val="001E5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以编辑母版副标题样式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001E5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以编辑母版副标题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20485" y="1546905"/>
            <a:ext cx="7826829" cy="2387600"/>
          </a:xfrm>
        </p:spPr>
        <p:txBody>
          <a:bodyPr anchor="b">
            <a:normAutofit/>
          </a:bodyPr>
          <a:lstStyle>
            <a:lvl1pPr algn="l">
              <a:defRPr sz="52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98714" y="3967163"/>
            <a:ext cx="560614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以编辑母版副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28492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255520"/>
            <a:ext cx="5157787" cy="393414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28492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255520"/>
            <a:ext cx="5183188" cy="3934143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image" Target="../media/image12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1.png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5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8.png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.png"/><Relationship Id="rId14" Type="http://schemas.openxmlformats.org/officeDocument/2006/relationships/image" Target="../media/image7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6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9.png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3.png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图片 4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811" b="4445"/>
          <a:stretch>
            <a:fillRect/>
          </a:stretch>
        </p:blipFill>
        <p:spPr>
          <a:xfrm>
            <a:off x="7131084" y="0"/>
            <a:ext cx="5060916" cy="6858000"/>
          </a:xfrm>
          <a:prstGeom prst="rect">
            <a:avLst/>
          </a:prstGeom>
        </p:spPr>
      </p:pic>
      <p:grpSp>
        <p:nvGrpSpPr>
          <p:cNvPr id="48" name="组合 47"/>
          <p:cNvGrpSpPr/>
          <p:nvPr userDrawn="1"/>
        </p:nvGrpSpPr>
        <p:grpSpPr>
          <a:xfrm rot="17386124">
            <a:off x="6549640" y="2421612"/>
            <a:ext cx="6247247" cy="2267779"/>
            <a:chOff x="2154873" y="19858"/>
            <a:chExt cx="5938837" cy="2155825"/>
          </a:xfrm>
        </p:grpSpPr>
        <p:sp>
          <p:nvSpPr>
            <p:cNvPr id="49" name="object 11"/>
            <p:cNvSpPr>
              <a:spLocks noChangeArrowheads="1"/>
            </p:cNvSpPr>
            <p:nvPr/>
          </p:nvSpPr>
          <p:spPr bwMode="auto">
            <a:xfrm>
              <a:off x="2154873" y="522288"/>
              <a:ext cx="1417637" cy="990600"/>
            </a:xfrm>
            <a:custGeom>
              <a:avLst/>
              <a:gdLst>
                <a:gd name="T0" fmla="*/ 383098 w 1416684"/>
                <a:gd name="T1" fmla="*/ 0 h 991234"/>
                <a:gd name="T2" fmla="*/ 270292 w 1416684"/>
                <a:gd name="T3" fmla="*/ 16675 h 991234"/>
                <a:gd name="T4" fmla="*/ 139347 w 1416684"/>
                <a:gd name="T5" fmla="*/ 86936 h 991234"/>
                <a:gd name="T6" fmla="*/ 45929 w 1416684"/>
                <a:gd name="T7" fmla="*/ 200380 h 991234"/>
                <a:gd name="T8" fmla="*/ 1851 w 1416684"/>
                <a:gd name="T9" fmla="*/ 343867 h 991234"/>
                <a:gd name="T10" fmla="*/ 2353 w 1416684"/>
                <a:gd name="T11" fmla="*/ 890282 h 991234"/>
                <a:gd name="T12" fmla="*/ 57378 w 1416684"/>
                <a:gd name="T13" fmla="*/ 970549 h 991234"/>
                <a:gd name="T14" fmla="*/ 126551 w 1416684"/>
                <a:gd name="T15" fmla="*/ 991006 h 991234"/>
                <a:gd name="T16" fmla="*/ 198250 w 1416684"/>
                <a:gd name="T17" fmla="*/ 970549 h 991234"/>
                <a:gd name="T18" fmla="*/ 253458 w 1416684"/>
                <a:gd name="T19" fmla="*/ 890282 h 991234"/>
                <a:gd name="T20" fmla="*/ 259098 w 1416684"/>
                <a:gd name="T21" fmla="*/ 398470 h 991234"/>
                <a:gd name="T22" fmla="*/ 335851 w 1416684"/>
                <a:gd name="T23" fmla="*/ 285369 h 991234"/>
                <a:gd name="T24" fmla="*/ 433557 w 1416684"/>
                <a:gd name="T25" fmla="*/ 255835 h 991234"/>
                <a:gd name="T26" fmla="*/ 1386764 w 1416684"/>
                <a:gd name="T27" fmla="*/ 234286 h 991234"/>
                <a:gd name="T28" fmla="*/ 1305845 w 1416684"/>
                <a:gd name="T29" fmla="*/ 111755 h 991234"/>
                <a:gd name="T30" fmla="*/ 1184414 w 1416684"/>
                <a:gd name="T31" fmla="*/ 29632 h 991234"/>
                <a:gd name="T32" fmla="*/ 1074659 w 1416684"/>
                <a:gd name="T33" fmla="*/ 1854 h 991234"/>
                <a:gd name="T34" fmla="*/ 708240 w 1416684"/>
                <a:gd name="T35" fmla="*/ 323152 h 991234"/>
                <a:gd name="T36" fmla="*/ 616672 w 1416684"/>
                <a:gd name="T37" fmla="*/ 360858 h 991234"/>
                <a:gd name="T38" fmla="*/ 578977 w 1416684"/>
                <a:gd name="T39" fmla="*/ 452415 h 991234"/>
                <a:gd name="T40" fmla="*/ 588393 w 1416684"/>
                <a:gd name="T41" fmla="*/ 913927 h 991234"/>
                <a:gd name="T42" fmla="*/ 658396 w 1416684"/>
                <a:gd name="T43" fmla="*/ 981913 h 991234"/>
                <a:gd name="T44" fmla="*/ 734066 w 1416684"/>
                <a:gd name="T45" fmla="*/ 988733 h 991234"/>
                <a:gd name="T46" fmla="*/ 814355 w 1416684"/>
                <a:gd name="T47" fmla="*/ 935377 h 991234"/>
                <a:gd name="T48" fmla="*/ 834812 w 1416684"/>
                <a:gd name="T49" fmla="*/ 864434 h 991234"/>
                <a:gd name="T50" fmla="*/ 825717 w 1416684"/>
                <a:gd name="T51" fmla="*/ 402616 h 991234"/>
                <a:gd name="T52" fmla="*/ 757715 w 1416684"/>
                <a:gd name="T53" fmla="*/ 332581 h 991234"/>
                <a:gd name="T54" fmla="*/ 1394643 w 1416684"/>
                <a:gd name="T55" fmla="*/ 255835 h 991234"/>
                <a:gd name="T56" fmla="*/ 1018004 w 1416684"/>
                <a:gd name="T57" fmla="*/ 259116 h 991234"/>
                <a:gd name="T58" fmla="*/ 1108133 w 1416684"/>
                <a:gd name="T59" fmla="*/ 308346 h 991234"/>
                <a:gd name="T60" fmla="*/ 1160645 w 1416684"/>
                <a:gd name="T61" fmla="*/ 433567 h 991234"/>
                <a:gd name="T62" fmla="*/ 1162942 w 1416684"/>
                <a:gd name="T63" fmla="*/ 890282 h 991234"/>
                <a:gd name="T64" fmla="*/ 1216845 w 1416684"/>
                <a:gd name="T65" fmla="*/ 970549 h 991234"/>
                <a:gd name="T66" fmla="*/ 1288568 w 1416684"/>
                <a:gd name="T67" fmla="*/ 991006 h 991234"/>
                <a:gd name="T68" fmla="*/ 1360264 w 1416684"/>
                <a:gd name="T69" fmla="*/ 970549 h 991234"/>
                <a:gd name="T70" fmla="*/ 1414173 w 1416684"/>
                <a:gd name="T71" fmla="*/ 890282 h 991234"/>
                <a:gd name="T72" fmla="*/ 1416389 w 1416684"/>
                <a:gd name="T73" fmla="*/ 380732 h 991234"/>
                <a:gd name="T74" fmla="*/ 1409038 w 1416684"/>
                <a:gd name="T75" fmla="*/ 306338 h 991234"/>
                <a:gd name="T76" fmla="*/ 1394643 w 1416684"/>
                <a:gd name="T77" fmla="*/ 255835 h 99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16684" h="991234">
                  <a:moveTo>
                    <a:pt x="1036062" y="0"/>
                  </a:moveTo>
                  <a:lnTo>
                    <a:pt x="383098" y="0"/>
                  </a:lnTo>
                  <a:lnTo>
                    <a:pt x="344483" y="1854"/>
                  </a:lnTo>
                  <a:lnTo>
                    <a:pt x="270292" y="16675"/>
                  </a:lnTo>
                  <a:lnTo>
                    <a:pt x="200713" y="45881"/>
                  </a:lnTo>
                  <a:lnTo>
                    <a:pt x="139347" y="86936"/>
                  </a:lnTo>
                  <a:lnTo>
                    <a:pt x="87084" y="139111"/>
                  </a:lnTo>
                  <a:lnTo>
                    <a:pt x="45929" y="200380"/>
                  </a:lnTo>
                  <a:lnTo>
                    <a:pt x="16675" y="269811"/>
                  </a:lnTo>
                  <a:lnTo>
                    <a:pt x="1851" y="343867"/>
                  </a:lnTo>
                  <a:lnTo>
                    <a:pt x="0" y="864434"/>
                  </a:lnTo>
                  <a:lnTo>
                    <a:pt x="2353" y="890282"/>
                  </a:lnTo>
                  <a:lnTo>
                    <a:pt x="21194" y="935377"/>
                  </a:lnTo>
                  <a:lnTo>
                    <a:pt x="57378" y="970549"/>
                  </a:lnTo>
                  <a:lnTo>
                    <a:pt x="101807" y="988733"/>
                  </a:lnTo>
                  <a:lnTo>
                    <a:pt x="126551" y="991006"/>
                  </a:lnTo>
                  <a:lnTo>
                    <a:pt x="152467" y="988733"/>
                  </a:lnTo>
                  <a:lnTo>
                    <a:pt x="198250" y="970549"/>
                  </a:lnTo>
                  <a:lnTo>
                    <a:pt x="234615" y="935377"/>
                  </a:lnTo>
                  <a:lnTo>
                    <a:pt x="253458" y="890282"/>
                  </a:lnTo>
                  <a:lnTo>
                    <a:pt x="255814" y="433567"/>
                  </a:lnTo>
                  <a:lnTo>
                    <a:pt x="259098" y="398470"/>
                  </a:lnTo>
                  <a:lnTo>
                    <a:pt x="285357" y="335857"/>
                  </a:lnTo>
                  <a:lnTo>
                    <a:pt x="335851" y="285369"/>
                  </a:lnTo>
                  <a:lnTo>
                    <a:pt x="398462" y="259116"/>
                  </a:lnTo>
                  <a:lnTo>
                    <a:pt x="433557" y="255835"/>
                  </a:lnTo>
                  <a:lnTo>
                    <a:pt x="1394643" y="255835"/>
                  </a:lnTo>
                  <a:lnTo>
                    <a:pt x="1386764" y="234286"/>
                  </a:lnTo>
                  <a:lnTo>
                    <a:pt x="1351707" y="168654"/>
                  </a:lnTo>
                  <a:lnTo>
                    <a:pt x="1305845" y="111755"/>
                  </a:lnTo>
                  <a:lnTo>
                    <a:pt x="1249865" y="64981"/>
                  </a:lnTo>
                  <a:lnTo>
                    <a:pt x="1184414" y="29632"/>
                  </a:lnTo>
                  <a:lnTo>
                    <a:pt x="1112248" y="7414"/>
                  </a:lnTo>
                  <a:lnTo>
                    <a:pt x="1074659" y="1854"/>
                  </a:lnTo>
                  <a:lnTo>
                    <a:pt x="1036062" y="0"/>
                  </a:lnTo>
                  <a:close/>
                </a:path>
                <a:path w="1416684" h="991234">
                  <a:moveTo>
                    <a:pt x="708240" y="323152"/>
                  </a:moveTo>
                  <a:lnTo>
                    <a:pt x="658396" y="332581"/>
                  </a:lnTo>
                  <a:lnTo>
                    <a:pt x="616672" y="360858"/>
                  </a:lnTo>
                  <a:lnTo>
                    <a:pt x="588393" y="402616"/>
                  </a:lnTo>
                  <a:lnTo>
                    <a:pt x="578977" y="452415"/>
                  </a:lnTo>
                  <a:lnTo>
                    <a:pt x="578977" y="864434"/>
                  </a:lnTo>
                  <a:lnTo>
                    <a:pt x="588393" y="913927"/>
                  </a:lnTo>
                  <a:lnTo>
                    <a:pt x="616672" y="954641"/>
                  </a:lnTo>
                  <a:lnTo>
                    <a:pt x="658396" y="981913"/>
                  </a:lnTo>
                  <a:lnTo>
                    <a:pt x="708240" y="991006"/>
                  </a:lnTo>
                  <a:lnTo>
                    <a:pt x="734066" y="988733"/>
                  </a:lnTo>
                  <a:lnTo>
                    <a:pt x="779180" y="970549"/>
                  </a:lnTo>
                  <a:lnTo>
                    <a:pt x="814355" y="935377"/>
                  </a:lnTo>
                  <a:lnTo>
                    <a:pt x="832537" y="890282"/>
                  </a:lnTo>
                  <a:lnTo>
                    <a:pt x="834812" y="864434"/>
                  </a:lnTo>
                  <a:lnTo>
                    <a:pt x="834812" y="452415"/>
                  </a:lnTo>
                  <a:lnTo>
                    <a:pt x="825717" y="402616"/>
                  </a:lnTo>
                  <a:lnTo>
                    <a:pt x="798457" y="360858"/>
                  </a:lnTo>
                  <a:lnTo>
                    <a:pt x="757715" y="332581"/>
                  </a:lnTo>
                  <a:lnTo>
                    <a:pt x="708240" y="323152"/>
                  </a:lnTo>
                  <a:close/>
                </a:path>
                <a:path w="1416684" h="991234">
                  <a:moveTo>
                    <a:pt x="1394643" y="255835"/>
                  </a:moveTo>
                  <a:lnTo>
                    <a:pt x="982912" y="255835"/>
                  </a:lnTo>
                  <a:lnTo>
                    <a:pt x="1018004" y="259116"/>
                  </a:lnTo>
                  <a:lnTo>
                    <a:pt x="1050572" y="268960"/>
                  </a:lnTo>
                  <a:lnTo>
                    <a:pt x="1108133" y="308346"/>
                  </a:lnTo>
                  <a:lnTo>
                    <a:pt x="1147520" y="365899"/>
                  </a:lnTo>
                  <a:lnTo>
                    <a:pt x="1160645" y="433567"/>
                  </a:lnTo>
                  <a:lnTo>
                    <a:pt x="1160645" y="864434"/>
                  </a:lnTo>
                  <a:lnTo>
                    <a:pt x="1162942" y="890282"/>
                  </a:lnTo>
                  <a:lnTo>
                    <a:pt x="1181309" y="935377"/>
                  </a:lnTo>
                  <a:lnTo>
                    <a:pt x="1216845" y="970549"/>
                  </a:lnTo>
                  <a:lnTo>
                    <a:pt x="1262438" y="988733"/>
                  </a:lnTo>
                  <a:lnTo>
                    <a:pt x="1288568" y="991006"/>
                  </a:lnTo>
                  <a:lnTo>
                    <a:pt x="1314668" y="988733"/>
                  </a:lnTo>
                  <a:lnTo>
                    <a:pt x="1360264" y="970549"/>
                  </a:lnTo>
                  <a:lnTo>
                    <a:pt x="1395805" y="935377"/>
                  </a:lnTo>
                  <a:lnTo>
                    <a:pt x="1414173" y="890282"/>
                  </a:lnTo>
                  <a:lnTo>
                    <a:pt x="1416469" y="864434"/>
                  </a:lnTo>
                  <a:lnTo>
                    <a:pt x="1416389" y="380732"/>
                  </a:lnTo>
                  <a:lnTo>
                    <a:pt x="1414611" y="343867"/>
                  </a:lnTo>
                  <a:lnTo>
                    <a:pt x="1409038" y="306338"/>
                  </a:lnTo>
                  <a:lnTo>
                    <a:pt x="1399754" y="269811"/>
                  </a:lnTo>
                  <a:lnTo>
                    <a:pt x="1394643" y="255835"/>
                  </a:lnTo>
                  <a:close/>
                </a:path>
              </a:pathLst>
            </a:custGeom>
            <a:solidFill>
              <a:srgbClr val="028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0" name="object 12"/>
            <p:cNvSpPr>
              <a:spLocks noChangeArrowheads="1"/>
            </p:cNvSpPr>
            <p:nvPr/>
          </p:nvSpPr>
          <p:spPr bwMode="auto">
            <a:xfrm>
              <a:off x="3799523" y="522288"/>
              <a:ext cx="1157287" cy="990600"/>
            </a:xfrm>
            <a:custGeom>
              <a:avLst/>
              <a:gdLst>
                <a:gd name="T0" fmla="*/ 385967 w 1158240"/>
                <a:gd name="T1" fmla="*/ 0 h 991234"/>
                <a:gd name="T2" fmla="*/ 307701 w 1158240"/>
                <a:gd name="T3" fmla="*/ 7409 h 991234"/>
                <a:gd name="T4" fmla="*/ 200838 w 1158240"/>
                <a:gd name="T5" fmla="*/ 45871 h 991234"/>
                <a:gd name="T6" fmla="*/ 87119 w 1158240"/>
                <a:gd name="T7" fmla="*/ 139105 h 991234"/>
                <a:gd name="T8" fmla="*/ 16688 w 1158240"/>
                <a:gd name="T9" fmla="*/ 269805 h 991234"/>
                <a:gd name="T10" fmla="*/ 0 w 1158240"/>
                <a:gd name="T11" fmla="*/ 382396 h 991234"/>
                <a:gd name="T12" fmla="*/ 1854 w 1158240"/>
                <a:gd name="T13" fmla="*/ 648233 h 991234"/>
                <a:gd name="T14" fmla="*/ 29664 w 1158240"/>
                <a:gd name="T15" fmla="*/ 758050 h 991234"/>
                <a:gd name="T16" fmla="*/ 112007 w 1158240"/>
                <a:gd name="T17" fmla="*/ 879240 h 991234"/>
                <a:gd name="T18" fmla="*/ 234830 w 1158240"/>
                <a:gd name="T19" fmla="*/ 961363 h 991234"/>
                <a:gd name="T20" fmla="*/ 346159 w 1158240"/>
                <a:gd name="T21" fmla="*/ 989148 h 991234"/>
                <a:gd name="T22" fmla="*/ 774677 w 1158240"/>
                <a:gd name="T23" fmla="*/ 990996 h 991234"/>
                <a:gd name="T24" fmla="*/ 887529 w 1158240"/>
                <a:gd name="T25" fmla="*/ 974342 h 991234"/>
                <a:gd name="T26" fmla="*/ 1018538 w 1158240"/>
                <a:gd name="T27" fmla="*/ 904065 h 991234"/>
                <a:gd name="T28" fmla="*/ 1111984 w 1158240"/>
                <a:gd name="T29" fmla="*/ 791375 h 991234"/>
                <a:gd name="T30" fmla="*/ 436248 w 1158240"/>
                <a:gd name="T31" fmla="*/ 735160 h 991234"/>
                <a:gd name="T32" fmla="*/ 336019 w 1158240"/>
                <a:gd name="T33" fmla="*/ 706390 h 991234"/>
                <a:gd name="T34" fmla="*/ 259114 w 1158240"/>
                <a:gd name="T35" fmla="*/ 593624 h 991234"/>
                <a:gd name="T36" fmla="*/ 255835 w 1158240"/>
                <a:gd name="T37" fmla="*/ 433557 h 991234"/>
                <a:gd name="T38" fmla="*/ 308336 w 1158240"/>
                <a:gd name="T39" fmla="*/ 308336 h 991234"/>
                <a:gd name="T40" fmla="*/ 436248 w 1158240"/>
                <a:gd name="T41" fmla="*/ 255824 h 991234"/>
                <a:gd name="T42" fmla="*/ 1128248 w 1158240"/>
                <a:gd name="T43" fmla="*/ 234275 h 991234"/>
                <a:gd name="T44" fmla="*/ 1045957 w 1158240"/>
                <a:gd name="T45" fmla="*/ 111755 h 991234"/>
                <a:gd name="T46" fmla="*/ 923123 w 1158240"/>
                <a:gd name="T47" fmla="*/ 29622 h 991234"/>
                <a:gd name="T48" fmla="*/ 813305 w 1158240"/>
                <a:gd name="T49" fmla="*/ 1852 h 991234"/>
                <a:gd name="T50" fmla="*/ 1136123 w 1158240"/>
                <a:gd name="T51" fmla="*/ 255824 h 991234"/>
                <a:gd name="T52" fmla="*/ 756877 w 1158240"/>
                <a:gd name="T53" fmla="*/ 259107 h 991234"/>
                <a:gd name="T54" fmla="*/ 848267 w 1158240"/>
                <a:gd name="T55" fmla="*/ 308336 h 991234"/>
                <a:gd name="T56" fmla="*/ 902129 w 1158240"/>
                <a:gd name="T57" fmla="*/ 433557 h 991234"/>
                <a:gd name="T58" fmla="*/ 888662 w 1158240"/>
                <a:gd name="T59" fmla="*/ 626788 h 991234"/>
                <a:gd name="T60" fmla="*/ 789693 w 1158240"/>
                <a:gd name="T61" fmla="*/ 722377 h 991234"/>
                <a:gd name="T62" fmla="*/ 1136718 w 1158240"/>
                <a:gd name="T63" fmla="*/ 735160 h 991234"/>
                <a:gd name="T64" fmla="*/ 1150513 w 1158240"/>
                <a:gd name="T65" fmla="*/ 686356 h 991234"/>
                <a:gd name="T66" fmla="*/ 1157943 w 1158240"/>
                <a:gd name="T67" fmla="*/ 608599 h 991234"/>
                <a:gd name="T68" fmla="*/ 1156085 w 1158240"/>
                <a:gd name="T69" fmla="*/ 343862 h 991234"/>
                <a:gd name="T70" fmla="*/ 1141232 w 1158240"/>
                <a:gd name="T71" fmla="*/ 269805 h 99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58240" h="991234">
                  <a:moveTo>
                    <a:pt x="774677" y="0"/>
                  </a:moveTo>
                  <a:lnTo>
                    <a:pt x="385967" y="0"/>
                  </a:lnTo>
                  <a:lnTo>
                    <a:pt x="346159" y="1852"/>
                  </a:lnTo>
                  <a:lnTo>
                    <a:pt x="307701" y="7409"/>
                  </a:lnTo>
                  <a:lnTo>
                    <a:pt x="270592" y="16666"/>
                  </a:lnTo>
                  <a:lnTo>
                    <a:pt x="200838" y="45871"/>
                  </a:lnTo>
                  <a:lnTo>
                    <a:pt x="139426" y="86930"/>
                  </a:lnTo>
                  <a:lnTo>
                    <a:pt x="87119" y="139105"/>
                  </a:lnTo>
                  <a:lnTo>
                    <a:pt x="45940" y="200370"/>
                  </a:lnTo>
                  <a:lnTo>
                    <a:pt x="16688" y="269805"/>
                  </a:lnTo>
                  <a:lnTo>
                    <a:pt x="1854" y="343862"/>
                  </a:lnTo>
                  <a:lnTo>
                    <a:pt x="0" y="382396"/>
                  </a:lnTo>
                  <a:lnTo>
                    <a:pt x="0" y="608599"/>
                  </a:lnTo>
                  <a:lnTo>
                    <a:pt x="1854" y="648233"/>
                  </a:lnTo>
                  <a:lnTo>
                    <a:pt x="7418" y="686356"/>
                  </a:lnTo>
                  <a:lnTo>
                    <a:pt x="29664" y="758050"/>
                  </a:lnTo>
                  <a:lnTo>
                    <a:pt x="65094" y="822681"/>
                  </a:lnTo>
                  <a:lnTo>
                    <a:pt x="112007" y="879240"/>
                  </a:lnTo>
                  <a:lnTo>
                    <a:pt x="169036" y="926030"/>
                  </a:lnTo>
                  <a:lnTo>
                    <a:pt x="234830" y="961363"/>
                  </a:lnTo>
                  <a:lnTo>
                    <a:pt x="307701" y="983600"/>
                  </a:lnTo>
                  <a:lnTo>
                    <a:pt x="346159" y="989148"/>
                  </a:lnTo>
                  <a:lnTo>
                    <a:pt x="385967" y="990996"/>
                  </a:lnTo>
                  <a:lnTo>
                    <a:pt x="774677" y="990996"/>
                  </a:lnTo>
                  <a:lnTo>
                    <a:pt x="813305" y="989148"/>
                  </a:lnTo>
                  <a:lnTo>
                    <a:pt x="887529" y="974342"/>
                  </a:lnTo>
                  <a:lnTo>
                    <a:pt x="957122" y="945131"/>
                  </a:lnTo>
                  <a:lnTo>
                    <a:pt x="1018538" y="904065"/>
                  </a:lnTo>
                  <a:lnTo>
                    <a:pt x="1070838" y="851970"/>
                  </a:lnTo>
                  <a:lnTo>
                    <a:pt x="1111984" y="791375"/>
                  </a:lnTo>
                  <a:lnTo>
                    <a:pt x="1136718" y="735160"/>
                  </a:lnTo>
                  <a:lnTo>
                    <a:pt x="436248" y="735160"/>
                  </a:lnTo>
                  <a:lnTo>
                    <a:pt x="399972" y="731965"/>
                  </a:lnTo>
                  <a:lnTo>
                    <a:pt x="336019" y="706390"/>
                  </a:lnTo>
                  <a:lnTo>
                    <a:pt x="285361" y="656915"/>
                  </a:lnTo>
                  <a:lnTo>
                    <a:pt x="259114" y="593624"/>
                  </a:lnTo>
                  <a:lnTo>
                    <a:pt x="255835" y="557428"/>
                  </a:lnTo>
                  <a:lnTo>
                    <a:pt x="255835" y="433557"/>
                  </a:lnTo>
                  <a:lnTo>
                    <a:pt x="268955" y="365897"/>
                  </a:lnTo>
                  <a:lnTo>
                    <a:pt x="308336" y="308336"/>
                  </a:lnTo>
                  <a:lnTo>
                    <a:pt x="366563" y="268953"/>
                  </a:lnTo>
                  <a:lnTo>
                    <a:pt x="436248" y="255824"/>
                  </a:lnTo>
                  <a:lnTo>
                    <a:pt x="1136123" y="255824"/>
                  </a:lnTo>
                  <a:lnTo>
                    <a:pt x="1128248" y="234275"/>
                  </a:lnTo>
                  <a:lnTo>
                    <a:pt x="1092847" y="168645"/>
                  </a:lnTo>
                  <a:lnTo>
                    <a:pt x="1045957" y="111755"/>
                  </a:lnTo>
                  <a:lnTo>
                    <a:pt x="988926" y="64971"/>
                  </a:lnTo>
                  <a:lnTo>
                    <a:pt x="923123" y="29622"/>
                  </a:lnTo>
                  <a:lnTo>
                    <a:pt x="850923" y="7409"/>
                  </a:lnTo>
                  <a:lnTo>
                    <a:pt x="813305" y="1852"/>
                  </a:lnTo>
                  <a:lnTo>
                    <a:pt x="774677" y="0"/>
                  </a:lnTo>
                  <a:close/>
                </a:path>
                <a:path w="1158240" h="991234">
                  <a:moveTo>
                    <a:pt x="1136123" y="255824"/>
                  </a:moveTo>
                  <a:lnTo>
                    <a:pt x="721695" y="255824"/>
                  </a:lnTo>
                  <a:lnTo>
                    <a:pt x="756877" y="259107"/>
                  </a:lnTo>
                  <a:lnTo>
                    <a:pt x="789693" y="268953"/>
                  </a:lnTo>
                  <a:lnTo>
                    <a:pt x="848267" y="308336"/>
                  </a:lnTo>
                  <a:lnTo>
                    <a:pt x="888662" y="365897"/>
                  </a:lnTo>
                  <a:lnTo>
                    <a:pt x="902129" y="433557"/>
                  </a:lnTo>
                  <a:lnTo>
                    <a:pt x="902129" y="557428"/>
                  </a:lnTo>
                  <a:lnTo>
                    <a:pt x="888662" y="626788"/>
                  </a:lnTo>
                  <a:lnTo>
                    <a:pt x="848267" y="684000"/>
                  </a:lnTo>
                  <a:lnTo>
                    <a:pt x="789693" y="722377"/>
                  </a:lnTo>
                  <a:lnTo>
                    <a:pt x="721695" y="735160"/>
                  </a:lnTo>
                  <a:lnTo>
                    <a:pt x="1136718" y="735160"/>
                  </a:lnTo>
                  <a:lnTo>
                    <a:pt x="1141232" y="722962"/>
                  </a:lnTo>
                  <a:lnTo>
                    <a:pt x="1150513" y="686356"/>
                  </a:lnTo>
                  <a:lnTo>
                    <a:pt x="1156085" y="648233"/>
                  </a:lnTo>
                  <a:lnTo>
                    <a:pt x="1157943" y="608599"/>
                  </a:lnTo>
                  <a:lnTo>
                    <a:pt x="1157943" y="382396"/>
                  </a:lnTo>
                  <a:lnTo>
                    <a:pt x="1156085" y="343862"/>
                  </a:lnTo>
                  <a:lnTo>
                    <a:pt x="1150513" y="306333"/>
                  </a:lnTo>
                  <a:lnTo>
                    <a:pt x="1141232" y="269805"/>
                  </a:lnTo>
                  <a:lnTo>
                    <a:pt x="1136123" y="255824"/>
                  </a:lnTo>
                  <a:close/>
                </a:path>
              </a:pathLst>
            </a:custGeom>
            <a:solidFill>
              <a:srgbClr val="028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1" name="object 13"/>
            <p:cNvSpPr>
              <a:spLocks noChangeArrowheads="1"/>
            </p:cNvSpPr>
            <p:nvPr/>
          </p:nvSpPr>
          <p:spPr bwMode="auto">
            <a:xfrm>
              <a:off x="5139993" y="19858"/>
              <a:ext cx="1695450" cy="2155825"/>
            </a:xfrm>
            <a:custGeom>
              <a:avLst/>
              <a:gdLst>
                <a:gd name="T0" fmla="*/ 1196517 w 1686559"/>
                <a:gd name="T1" fmla="*/ 852830 h 2154554"/>
                <a:gd name="T2" fmla="*/ 1152398 w 1686559"/>
                <a:gd name="T3" fmla="*/ 709422 h 2154554"/>
                <a:gd name="T4" fmla="*/ 1058494 w 1686559"/>
                <a:gd name="T5" fmla="*/ 596658 h 2154554"/>
                <a:gd name="T6" fmla="*/ 928547 w 1686559"/>
                <a:gd name="T7" fmla="*/ 525640 h 2154554"/>
                <a:gd name="T8" fmla="*/ 815962 w 1686559"/>
                <a:gd name="T9" fmla="*/ 508965 h 2154554"/>
                <a:gd name="T10" fmla="*/ 416052 w 1686559"/>
                <a:gd name="T11" fmla="*/ 518401 h 2154554"/>
                <a:gd name="T12" fmla="*/ 346049 w 1686559"/>
                <a:gd name="T13" fmla="*/ 587756 h 2154554"/>
                <a:gd name="T14" fmla="*/ 338975 w 1686559"/>
                <a:gd name="T15" fmla="*/ 661466 h 2154554"/>
                <a:gd name="T16" fmla="*/ 394182 w 1686559"/>
                <a:gd name="T17" fmla="*/ 743597 h 2154554"/>
                <a:gd name="T18" fmla="*/ 815962 w 1686559"/>
                <a:gd name="T19" fmla="*/ 764794 h 2154554"/>
                <a:gd name="T20" fmla="*/ 885126 w 1686559"/>
                <a:gd name="T21" fmla="*/ 786003 h 2154554"/>
                <a:gd name="T22" fmla="*/ 940181 w 1686559"/>
                <a:gd name="T23" fmla="*/ 865619 h 2154554"/>
                <a:gd name="T24" fmla="*/ 942530 w 1686559"/>
                <a:gd name="T25" fmla="*/ 1117561 h 2154554"/>
                <a:gd name="T26" fmla="*/ 904824 w 1686559"/>
                <a:gd name="T27" fmla="*/ 1206436 h 2154554"/>
                <a:gd name="T28" fmla="*/ 815962 w 1686559"/>
                <a:gd name="T29" fmla="*/ 1244142 h 2154554"/>
                <a:gd name="T30" fmla="*/ 335267 w 1686559"/>
                <a:gd name="T31" fmla="*/ 1234719 h 2154554"/>
                <a:gd name="T32" fmla="*/ 264579 w 1686559"/>
                <a:gd name="T33" fmla="*/ 1168057 h 2154554"/>
                <a:gd name="T34" fmla="*/ 255828 w 1686559"/>
                <a:gd name="T35" fmla="*/ 126568 h 2154554"/>
                <a:gd name="T36" fmla="*/ 234619 w 1686559"/>
                <a:gd name="T37" fmla="*/ 55638 h 2154554"/>
                <a:gd name="T38" fmla="*/ 152476 w 1686559"/>
                <a:gd name="T39" fmla="*/ 2273 h 2154554"/>
                <a:gd name="T40" fmla="*/ 100723 w 1686559"/>
                <a:gd name="T41" fmla="*/ 2273 h 2154554"/>
                <a:gd name="T42" fmla="*/ 20459 w 1686559"/>
                <a:gd name="T43" fmla="*/ 55638 h 2154554"/>
                <a:gd name="T44" fmla="*/ 0 w 1686559"/>
                <a:gd name="T45" fmla="*/ 126568 h 2154554"/>
                <a:gd name="T46" fmla="*/ 1841 w 1686559"/>
                <a:gd name="T47" fmla="*/ 1156119 h 2154554"/>
                <a:gd name="T48" fmla="*/ 45948 w 1686559"/>
                <a:gd name="T49" fmla="*/ 1299692 h 2154554"/>
                <a:gd name="T50" fmla="*/ 139776 w 1686559"/>
                <a:gd name="T51" fmla="*/ 1413802 h 2154554"/>
                <a:gd name="T52" fmla="*/ 268033 w 1686559"/>
                <a:gd name="T53" fmla="*/ 1483309 h 2154554"/>
                <a:gd name="T54" fmla="*/ 382409 w 1686559"/>
                <a:gd name="T55" fmla="*/ 1499958 h 2154554"/>
                <a:gd name="T56" fmla="*/ 854494 w 1686559"/>
                <a:gd name="T57" fmla="*/ 1498117 h 2154554"/>
                <a:gd name="T58" fmla="*/ 997902 w 1686559"/>
                <a:gd name="T59" fmla="*/ 1454200 h 2154554"/>
                <a:gd name="T60" fmla="*/ 1110665 w 1686559"/>
                <a:gd name="T61" fmla="*/ 1361630 h 2154554"/>
                <a:gd name="T62" fmla="*/ 1181696 w 1686559"/>
                <a:gd name="T63" fmla="*/ 1230172 h 2154554"/>
                <a:gd name="T64" fmla="*/ 1198372 w 1686559"/>
                <a:gd name="T65" fmla="*/ 1117561 h 2154554"/>
                <a:gd name="T66" fmla="*/ 1686039 w 1686559"/>
                <a:gd name="T67" fmla="*/ 654380 h 2154554"/>
                <a:gd name="T68" fmla="*/ 1649679 w 1686559"/>
                <a:gd name="T69" fmla="*/ 565518 h 2154554"/>
                <a:gd name="T70" fmla="*/ 1559471 w 1686559"/>
                <a:gd name="T71" fmla="*/ 527812 h 2154554"/>
                <a:gd name="T72" fmla="*/ 1487766 w 1686559"/>
                <a:gd name="T73" fmla="*/ 549033 h 2154554"/>
                <a:gd name="T74" fmla="*/ 1432560 w 1686559"/>
                <a:gd name="T75" fmla="*/ 629653 h 2154554"/>
                <a:gd name="T76" fmla="*/ 1430197 w 1686559"/>
                <a:gd name="T77" fmla="*/ 1771954 h 2154554"/>
                <a:gd name="T78" fmla="*/ 1410512 w 1686559"/>
                <a:gd name="T79" fmla="*/ 1844649 h 2154554"/>
                <a:gd name="T80" fmla="*/ 1332077 w 1686559"/>
                <a:gd name="T81" fmla="*/ 1896325 h 2154554"/>
                <a:gd name="T82" fmla="*/ 1136688 w 1686559"/>
                <a:gd name="T83" fmla="*/ 1898510 h 2154554"/>
                <a:gd name="T84" fmla="*/ 1066507 w 1686559"/>
                <a:gd name="T85" fmla="*/ 1919706 h 2154554"/>
                <a:gd name="T86" fmla="*/ 1014996 w 1686559"/>
                <a:gd name="T87" fmla="*/ 2001837 h 2154554"/>
                <a:gd name="T88" fmla="*/ 1014996 w 1686559"/>
                <a:gd name="T89" fmla="*/ 2053602 h 2154554"/>
                <a:gd name="T90" fmla="*/ 1066507 w 1686559"/>
                <a:gd name="T91" fmla="*/ 2133904 h 2154554"/>
                <a:gd name="T92" fmla="*/ 1136688 w 1686559"/>
                <a:gd name="T93" fmla="*/ 2154351 h 2154554"/>
                <a:gd name="T94" fmla="*/ 1344790 w 1686559"/>
                <a:gd name="T95" fmla="*/ 2152497 h 2154554"/>
                <a:gd name="T96" fmla="*/ 1486522 w 1686559"/>
                <a:gd name="T97" fmla="*/ 2108377 h 2154554"/>
                <a:gd name="T98" fmla="*/ 1609369 w 1686559"/>
                <a:gd name="T99" fmla="*/ 2004580 h 2154554"/>
                <a:gd name="T100" fmla="*/ 1658442 w 1686559"/>
                <a:gd name="T101" fmla="*/ 1921395 h 2154554"/>
                <a:gd name="T102" fmla="*/ 1682965 w 1686559"/>
                <a:gd name="T103" fmla="*/ 1825053 h 2154554"/>
                <a:gd name="T104" fmla="*/ 1686039 w 1686559"/>
                <a:gd name="T105" fmla="*/ 654380 h 2154554"/>
                <a:gd name="T106" fmla="*/ 1676946 w 1686559"/>
                <a:gd name="T107" fmla="*/ 189395 h 2154554"/>
                <a:gd name="T108" fmla="*/ 1608963 w 1686559"/>
                <a:gd name="T109" fmla="*/ 122097 h 2154554"/>
                <a:gd name="T110" fmla="*/ 1533537 w 1686559"/>
                <a:gd name="T111" fmla="*/ 115354 h 2154554"/>
                <a:gd name="T112" fmla="*/ 1451406 w 1686559"/>
                <a:gd name="T113" fmla="*/ 168160 h 2154554"/>
                <a:gd name="T114" fmla="*/ 1430197 w 1686559"/>
                <a:gd name="T115" fmla="*/ 238379 h 2154554"/>
                <a:gd name="T116" fmla="*/ 1439621 w 1686559"/>
                <a:gd name="T117" fmla="*/ 290347 h 2154554"/>
                <a:gd name="T118" fmla="*/ 1509636 w 1686559"/>
                <a:gd name="T119" fmla="*/ 359625 h 2154554"/>
                <a:gd name="T120" fmla="*/ 1585302 w 1686559"/>
                <a:gd name="T121" fmla="*/ 366610 h 2154554"/>
                <a:gd name="T122" fmla="*/ 1665592 w 1686559"/>
                <a:gd name="T123" fmla="*/ 312000 h 2154554"/>
                <a:gd name="T124" fmla="*/ 1686039 w 1686559"/>
                <a:gd name="T125" fmla="*/ 241020 h 2154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86559" h="2154554">
                  <a:moveTo>
                    <a:pt x="1198372" y="891362"/>
                  </a:moveTo>
                  <a:lnTo>
                    <a:pt x="1196517" y="852830"/>
                  </a:lnTo>
                  <a:lnTo>
                    <a:pt x="1181696" y="778776"/>
                  </a:lnTo>
                  <a:lnTo>
                    <a:pt x="1152398" y="709422"/>
                  </a:lnTo>
                  <a:lnTo>
                    <a:pt x="1110665" y="648843"/>
                  </a:lnTo>
                  <a:lnTo>
                    <a:pt x="1058494" y="596658"/>
                  </a:lnTo>
                  <a:lnTo>
                    <a:pt x="997902" y="554926"/>
                  </a:lnTo>
                  <a:lnTo>
                    <a:pt x="928547" y="525640"/>
                  </a:lnTo>
                  <a:lnTo>
                    <a:pt x="854494" y="510819"/>
                  </a:lnTo>
                  <a:lnTo>
                    <a:pt x="815962" y="508965"/>
                  </a:lnTo>
                  <a:lnTo>
                    <a:pt x="465886" y="508965"/>
                  </a:lnTo>
                  <a:lnTo>
                    <a:pt x="416052" y="518401"/>
                  </a:lnTo>
                  <a:lnTo>
                    <a:pt x="374332" y="546658"/>
                  </a:lnTo>
                  <a:lnTo>
                    <a:pt x="346049" y="587756"/>
                  </a:lnTo>
                  <a:lnTo>
                    <a:pt x="336626" y="635533"/>
                  </a:lnTo>
                  <a:lnTo>
                    <a:pt x="338975" y="661466"/>
                  </a:lnTo>
                  <a:lnTo>
                    <a:pt x="357822" y="707237"/>
                  </a:lnTo>
                  <a:lnTo>
                    <a:pt x="394182" y="743597"/>
                  </a:lnTo>
                  <a:lnTo>
                    <a:pt x="439953" y="762444"/>
                  </a:lnTo>
                  <a:lnTo>
                    <a:pt x="815962" y="764794"/>
                  </a:lnTo>
                  <a:lnTo>
                    <a:pt x="840689" y="767156"/>
                  </a:lnTo>
                  <a:lnTo>
                    <a:pt x="885126" y="786003"/>
                  </a:lnTo>
                  <a:lnTo>
                    <a:pt x="921321" y="821182"/>
                  </a:lnTo>
                  <a:lnTo>
                    <a:pt x="940181" y="865619"/>
                  </a:lnTo>
                  <a:lnTo>
                    <a:pt x="942530" y="891362"/>
                  </a:lnTo>
                  <a:lnTo>
                    <a:pt x="942530" y="1117561"/>
                  </a:lnTo>
                  <a:lnTo>
                    <a:pt x="933107" y="1169416"/>
                  </a:lnTo>
                  <a:lnTo>
                    <a:pt x="904824" y="1206436"/>
                  </a:lnTo>
                  <a:lnTo>
                    <a:pt x="863752" y="1234719"/>
                  </a:lnTo>
                  <a:lnTo>
                    <a:pt x="815962" y="1244142"/>
                  </a:lnTo>
                  <a:lnTo>
                    <a:pt x="382409" y="1244142"/>
                  </a:lnTo>
                  <a:lnTo>
                    <a:pt x="335267" y="1234719"/>
                  </a:lnTo>
                  <a:lnTo>
                    <a:pt x="290842" y="1206436"/>
                  </a:lnTo>
                  <a:lnTo>
                    <a:pt x="264579" y="1168057"/>
                  </a:lnTo>
                  <a:lnTo>
                    <a:pt x="255828" y="1117561"/>
                  </a:lnTo>
                  <a:lnTo>
                    <a:pt x="255828" y="126568"/>
                  </a:lnTo>
                  <a:lnTo>
                    <a:pt x="253479" y="100749"/>
                  </a:lnTo>
                  <a:lnTo>
                    <a:pt x="234619" y="55638"/>
                  </a:lnTo>
                  <a:lnTo>
                    <a:pt x="198259" y="20447"/>
                  </a:lnTo>
                  <a:lnTo>
                    <a:pt x="152476" y="2273"/>
                  </a:lnTo>
                  <a:lnTo>
                    <a:pt x="126568" y="0"/>
                  </a:lnTo>
                  <a:lnTo>
                    <a:pt x="100723" y="2273"/>
                  </a:lnTo>
                  <a:lnTo>
                    <a:pt x="55626" y="20447"/>
                  </a:lnTo>
                  <a:lnTo>
                    <a:pt x="20459" y="55638"/>
                  </a:lnTo>
                  <a:lnTo>
                    <a:pt x="2273" y="100749"/>
                  </a:lnTo>
                  <a:lnTo>
                    <a:pt x="0" y="126568"/>
                  </a:lnTo>
                  <a:lnTo>
                    <a:pt x="0" y="1117561"/>
                  </a:lnTo>
                  <a:lnTo>
                    <a:pt x="1841" y="1156119"/>
                  </a:lnTo>
                  <a:lnTo>
                    <a:pt x="16662" y="1230172"/>
                  </a:lnTo>
                  <a:lnTo>
                    <a:pt x="45948" y="1299692"/>
                  </a:lnTo>
                  <a:lnTo>
                    <a:pt x="87680" y="1361630"/>
                  </a:lnTo>
                  <a:lnTo>
                    <a:pt x="139776" y="1413802"/>
                  </a:lnTo>
                  <a:lnTo>
                    <a:pt x="199694" y="1454200"/>
                  </a:lnTo>
                  <a:lnTo>
                    <a:pt x="268033" y="1483309"/>
                  </a:lnTo>
                  <a:lnTo>
                    <a:pt x="342760" y="1498117"/>
                  </a:lnTo>
                  <a:lnTo>
                    <a:pt x="382409" y="1499958"/>
                  </a:lnTo>
                  <a:lnTo>
                    <a:pt x="815962" y="1499958"/>
                  </a:lnTo>
                  <a:lnTo>
                    <a:pt x="854494" y="1498117"/>
                  </a:lnTo>
                  <a:lnTo>
                    <a:pt x="928547" y="1483309"/>
                  </a:lnTo>
                  <a:lnTo>
                    <a:pt x="997902" y="1454200"/>
                  </a:lnTo>
                  <a:lnTo>
                    <a:pt x="1058494" y="1413802"/>
                  </a:lnTo>
                  <a:lnTo>
                    <a:pt x="1110665" y="1361630"/>
                  </a:lnTo>
                  <a:lnTo>
                    <a:pt x="1152398" y="1299692"/>
                  </a:lnTo>
                  <a:lnTo>
                    <a:pt x="1181696" y="1230172"/>
                  </a:lnTo>
                  <a:lnTo>
                    <a:pt x="1196517" y="1156119"/>
                  </a:lnTo>
                  <a:lnTo>
                    <a:pt x="1198372" y="1117561"/>
                  </a:lnTo>
                  <a:lnTo>
                    <a:pt x="1198372" y="891362"/>
                  </a:lnTo>
                  <a:close/>
                </a:path>
                <a:path w="1686559" h="2154554">
                  <a:moveTo>
                    <a:pt x="1686039" y="654380"/>
                  </a:moveTo>
                  <a:lnTo>
                    <a:pt x="1676946" y="606602"/>
                  </a:lnTo>
                  <a:lnTo>
                    <a:pt x="1649679" y="565518"/>
                  </a:lnTo>
                  <a:lnTo>
                    <a:pt x="1608963" y="537248"/>
                  </a:lnTo>
                  <a:lnTo>
                    <a:pt x="1559471" y="527812"/>
                  </a:lnTo>
                  <a:lnTo>
                    <a:pt x="1533537" y="530174"/>
                  </a:lnTo>
                  <a:lnTo>
                    <a:pt x="1487766" y="549033"/>
                  </a:lnTo>
                  <a:lnTo>
                    <a:pt x="1451406" y="585228"/>
                  </a:lnTo>
                  <a:lnTo>
                    <a:pt x="1432560" y="629653"/>
                  </a:lnTo>
                  <a:lnTo>
                    <a:pt x="1430197" y="654380"/>
                  </a:lnTo>
                  <a:lnTo>
                    <a:pt x="1430197" y="1771954"/>
                  </a:lnTo>
                  <a:lnTo>
                    <a:pt x="1428013" y="1798878"/>
                  </a:lnTo>
                  <a:lnTo>
                    <a:pt x="1410512" y="1844649"/>
                  </a:lnTo>
                  <a:lnTo>
                    <a:pt x="1376514" y="1878812"/>
                  </a:lnTo>
                  <a:lnTo>
                    <a:pt x="1332077" y="1896325"/>
                  </a:lnTo>
                  <a:lnTo>
                    <a:pt x="1306347" y="1898510"/>
                  </a:lnTo>
                  <a:lnTo>
                    <a:pt x="1136688" y="1898510"/>
                  </a:lnTo>
                  <a:lnTo>
                    <a:pt x="1110932" y="1900859"/>
                  </a:lnTo>
                  <a:lnTo>
                    <a:pt x="1066507" y="1919706"/>
                  </a:lnTo>
                  <a:lnTo>
                    <a:pt x="1032510" y="1956066"/>
                  </a:lnTo>
                  <a:lnTo>
                    <a:pt x="1014996" y="2001837"/>
                  </a:lnTo>
                  <a:lnTo>
                    <a:pt x="1012799" y="2027770"/>
                  </a:lnTo>
                  <a:lnTo>
                    <a:pt x="1014996" y="2053602"/>
                  </a:lnTo>
                  <a:lnTo>
                    <a:pt x="1032510" y="2098713"/>
                  </a:lnTo>
                  <a:lnTo>
                    <a:pt x="1066507" y="2133904"/>
                  </a:lnTo>
                  <a:lnTo>
                    <a:pt x="1110932" y="2152078"/>
                  </a:lnTo>
                  <a:lnTo>
                    <a:pt x="1136688" y="2154351"/>
                  </a:lnTo>
                  <a:lnTo>
                    <a:pt x="1306347" y="2154351"/>
                  </a:lnTo>
                  <a:lnTo>
                    <a:pt x="1344790" y="2152497"/>
                  </a:lnTo>
                  <a:lnTo>
                    <a:pt x="1418183" y="2137676"/>
                  </a:lnTo>
                  <a:lnTo>
                    <a:pt x="1486522" y="2108377"/>
                  </a:lnTo>
                  <a:lnTo>
                    <a:pt x="1547774" y="2066645"/>
                  </a:lnTo>
                  <a:lnTo>
                    <a:pt x="1609369" y="2004580"/>
                  </a:lnTo>
                  <a:lnTo>
                    <a:pt x="1636966" y="1964639"/>
                  </a:lnTo>
                  <a:lnTo>
                    <a:pt x="1658442" y="1921395"/>
                  </a:lnTo>
                  <a:lnTo>
                    <a:pt x="1673771" y="1874862"/>
                  </a:lnTo>
                  <a:lnTo>
                    <a:pt x="1682965" y="1825053"/>
                  </a:lnTo>
                  <a:lnTo>
                    <a:pt x="1686039" y="1771954"/>
                  </a:lnTo>
                  <a:lnTo>
                    <a:pt x="1686039" y="654380"/>
                  </a:lnTo>
                  <a:close/>
                </a:path>
                <a:path w="1686559" h="2154554">
                  <a:moveTo>
                    <a:pt x="1686039" y="238379"/>
                  </a:moveTo>
                  <a:lnTo>
                    <a:pt x="1676946" y="189395"/>
                  </a:lnTo>
                  <a:lnTo>
                    <a:pt x="1649679" y="149085"/>
                  </a:lnTo>
                  <a:lnTo>
                    <a:pt x="1608963" y="122097"/>
                  </a:lnTo>
                  <a:lnTo>
                    <a:pt x="1559471" y="113106"/>
                  </a:lnTo>
                  <a:lnTo>
                    <a:pt x="1533537" y="115354"/>
                  </a:lnTo>
                  <a:lnTo>
                    <a:pt x="1487766" y="133337"/>
                  </a:lnTo>
                  <a:lnTo>
                    <a:pt x="1451406" y="168160"/>
                  </a:lnTo>
                  <a:lnTo>
                    <a:pt x="1432560" y="212801"/>
                  </a:lnTo>
                  <a:lnTo>
                    <a:pt x="1430197" y="238379"/>
                  </a:lnTo>
                  <a:lnTo>
                    <a:pt x="1430197" y="241020"/>
                  </a:lnTo>
                  <a:lnTo>
                    <a:pt x="1439621" y="290347"/>
                  </a:lnTo>
                  <a:lnTo>
                    <a:pt x="1467904" y="331660"/>
                  </a:lnTo>
                  <a:lnTo>
                    <a:pt x="1509636" y="359625"/>
                  </a:lnTo>
                  <a:lnTo>
                    <a:pt x="1559471" y="368935"/>
                  </a:lnTo>
                  <a:lnTo>
                    <a:pt x="1585302" y="366610"/>
                  </a:lnTo>
                  <a:lnTo>
                    <a:pt x="1630413" y="347967"/>
                  </a:lnTo>
                  <a:lnTo>
                    <a:pt x="1665592" y="312000"/>
                  </a:lnTo>
                  <a:lnTo>
                    <a:pt x="1683766" y="266687"/>
                  </a:lnTo>
                  <a:lnTo>
                    <a:pt x="1686039" y="241020"/>
                  </a:lnTo>
                  <a:lnTo>
                    <a:pt x="1686039" y="238379"/>
                  </a:lnTo>
                  <a:close/>
                </a:path>
              </a:pathLst>
            </a:custGeom>
            <a:solidFill>
              <a:srgbClr val="028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2" name="object 14"/>
            <p:cNvSpPr>
              <a:spLocks noChangeArrowheads="1"/>
            </p:cNvSpPr>
            <p:nvPr/>
          </p:nvSpPr>
          <p:spPr bwMode="auto">
            <a:xfrm>
              <a:off x="7034848" y="522288"/>
              <a:ext cx="1058862" cy="990600"/>
            </a:xfrm>
            <a:custGeom>
              <a:avLst/>
              <a:gdLst>
                <a:gd name="T0" fmla="*/ 363549 w 1058544"/>
                <a:gd name="T1" fmla="*/ 0 h 991234"/>
                <a:gd name="T2" fmla="*/ 250694 w 1058544"/>
                <a:gd name="T3" fmla="*/ 15160 h 991234"/>
                <a:gd name="T4" fmla="*/ 127662 w 1058544"/>
                <a:gd name="T5" fmla="*/ 77934 h 991234"/>
                <a:gd name="T6" fmla="*/ 41731 w 1058544"/>
                <a:gd name="T7" fmla="*/ 175891 h 991234"/>
                <a:gd name="T8" fmla="*/ 1681 w 1058544"/>
                <a:gd name="T9" fmla="*/ 298085 h 991234"/>
                <a:gd name="T10" fmla="*/ 0 w 1058544"/>
                <a:gd name="T11" fmla="*/ 632839 h 991234"/>
                <a:gd name="T12" fmla="*/ 9091 w 1058544"/>
                <a:gd name="T13" fmla="*/ 720377 h 991234"/>
                <a:gd name="T14" fmla="*/ 36354 w 1058544"/>
                <a:gd name="T15" fmla="*/ 794415 h 991234"/>
                <a:gd name="T16" fmla="*/ 126572 w 1058544"/>
                <a:gd name="T17" fmla="*/ 906171 h 991234"/>
                <a:gd name="T18" fmla="*/ 242369 w 1058544"/>
                <a:gd name="T19" fmla="*/ 970797 h 991234"/>
                <a:gd name="T20" fmla="*/ 358156 w 1058544"/>
                <a:gd name="T21" fmla="*/ 991006 h 991234"/>
                <a:gd name="T22" fmla="*/ 978864 w 1058544"/>
                <a:gd name="T23" fmla="*/ 981913 h 991234"/>
                <a:gd name="T24" fmla="*/ 1048890 w 1058544"/>
                <a:gd name="T25" fmla="*/ 913919 h 991234"/>
                <a:gd name="T26" fmla="*/ 1055964 w 1058544"/>
                <a:gd name="T27" fmla="*/ 838522 h 991234"/>
                <a:gd name="T28" fmla="*/ 1000747 w 1058544"/>
                <a:gd name="T29" fmla="*/ 756382 h 991234"/>
                <a:gd name="T30" fmla="*/ 433557 w 1058544"/>
                <a:gd name="T31" fmla="*/ 735160 h 991234"/>
                <a:gd name="T32" fmla="*/ 323477 w 1058544"/>
                <a:gd name="T33" fmla="*/ 711700 h 991234"/>
                <a:gd name="T34" fmla="*/ 258515 w 1058544"/>
                <a:gd name="T35" fmla="*/ 601288 h 991234"/>
                <a:gd name="T36" fmla="*/ 255824 w 1058544"/>
                <a:gd name="T37" fmla="*/ 420091 h 991234"/>
                <a:gd name="T38" fmla="*/ 279294 w 1058544"/>
                <a:gd name="T39" fmla="*/ 317350 h 991234"/>
                <a:gd name="T40" fmla="*/ 377597 w 1058544"/>
                <a:gd name="T41" fmla="*/ 258269 h 991234"/>
                <a:gd name="T42" fmla="*/ 751338 w 1058544"/>
                <a:gd name="T43" fmla="*/ 255824 h 991234"/>
                <a:gd name="T44" fmla="*/ 810582 w 1058544"/>
                <a:gd name="T45" fmla="*/ 321801 h 991234"/>
                <a:gd name="T46" fmla="*/ 787428 w 1058544"/>
                <a:gd name="T47" fmla="*/ 376187 h 991234"/>
                <a:gd name="T48" fmla="*/ 442215 w 1058544"/>
                <a:gd name="T49" fmla="*/ 390027 h 991234"/>
                <a:gd name="T50" fmla="*/ 364804 w 1058544"/>
                <a:gd name="T51" fmla="*/ 442110 h 991234"/>
                <a:gd name="T52" fmla="*/ 347382 w 1058544"/>
                <a:gd name="T53" fmla="*/ 502236 h 991234"/>
                <a:gd name="T54" fmla="*/ 364804 w 1058544"/>
                <a:gd name="T55" fmla="*/ 562370 h 991234"/>
                <a:gd name="T56" fmla="*/ 442215 w 1058544"/>
                <a:gd name="T57" fmla="*/ 614430 h 991234"/>
                <a:gd name="T58" fmla="*/ 751338 w 1058544"/>
                <a:gd name="T59" fmla="*/ 616672 h 991234"/>
                <a:gd name="T60" fmla="*/ 849273 w 1058544"/>
                <a:gd name="T61" fmla="*/ 605240 h 991234"/>
                <a:gd name="T62" fmla="*/ 927709 w 1058544"/>
                <a:gd name="T63" fmla="*/ 570893 h 991234"/>
                <a:gd name="T64" fmla="*/ 986950 w 1058544"/>
                <a:gd name="T65" fmla="*/ 519403 h 991234"/>
                <a:gd name="T66" fmla="*/ 1048879 w 1058544"/>
                <a:gd name="T67" fmla="*/ 385092 h 991234"/>
                <a:gd name="T68" fmla="*/ 1051591 w 1058544"/>
                <a:gd name="T69" fmla="*/ 308336 h 991234"/>
                <a:gd name="T70" fmla="*/ 1036440 w 1058544"/>
                <a:gd name="T71" fmla="*/ 231598 h 991234"/>
                <a:gd name="T72" fmla="*/ 1004461 w 1058544"/>
                <a:gd name="T73" fmla="*/ 160225 h 991234"/>
                <a:gd name="T74" fmla="*/ 955307 w 1058544"/>
                <a:gd name="T75" fmla="*/ 97288 h 991234"/>
                <a:gd name="T76" fmla="*/ 888664 w 1058544"/>
                <a:gd name="T77" fmla="*/ 45778 h 991234"/>
                <a:gd name="T78" fmla="*/ 805855 w 1058544"/>
                <a:gd name="T79" fmla="*/ 11447 h 991234"/>
                <a:gd name="T80" fmla="*/ 708250 w 1058544"/>
                <a:gd name="T81" fmla="*/ 0 h 99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8544" h="991234">
                  <a:moveTo>
                    <a:pt x="708250" y="0"/>
                  </a:moveTo>
                  <a:lnTo>
                    <a:pt x="363549" y="0"/>
                  </a:lnTo>
                  <a:lnTo>
                    <a:pt x="324077" y="1687"/>
                  </a:lnTo>
                  <a:lnTo>
                    <a:pt x="250694" y="15160"/>
                  </a:lnTo>
                  <a:lnTo>
                    <a:pt x="184880" y="41581"/>
                  </a:lnTo>
                  <a:lnTo>
                    <a:pt x="127662" y="77934"/>
                  </a:lnTo>
                  <a:lnTo>
                    <a:pt x="79439" y="123384"/>
                  </a:lnTo>
                  <a:lnTo>
                    <a:pt x="41731" y="175891"/>
                  </a:lnTo>
                  <a:lnTo>
                    <a:pt x="15142" y="234795"/>
                  </a:lnTo>
                  <a:lnTo>
                    <a:pt x="1681" y="298085"/>
                  </a:lnTo>
                  <a:lnTo>
                    <a:pt x="0" y="331225"/>
                  </a:lnTo>
                  <a:lnTo>
                    <a:pt x="0" y="632839"/>
                  </a:lnTo>
                  <a:lnTo>
                    <a:pt x="2273" y="678295"/>
                  </a:lnTo>
                  <a:lnTo>
                    <a:pt x="9091" y="720377"/>
                  </a:lnTo>
                  <a:lnTo>
                    <a:pt x="20452" y="759084"/>
                  </a:lnTo>
                  <a:lnTo>
                    <a:pt x="36354" y="794415"/>
                  </a:lnTo>
                  <a:lnTo>
                    <a:pt x="77077" y="856018"/>
                  </a:lnTo>
                  <a:lnTo>
                    <a:pt x="126572" y="906171"/>
                  </a:lnTo>
                  <a:lnTo>
                    <a:pt x="182432" y="944543"/>
                  </a:lnTo>
                  <a:lnTo>
                    <a:pt x="242369" y="970797"/>
                  </a:lnTo>
                  <a:lnTo>
                    <a:pt x="302269" y="985951"/>
                  </a:lnTo>
                  <a:lnTo>
                    <a:pt x="358156" y="991006"/>
                  </a:lnTo>
                  <a:lnTo>
                    <a:pt x="929060" y="991006"/>
                  </a:lnTo>
                  <a:lnTo>
                    <a:pt x="978864" y="981913"/>
                  </a:lnTo>
                  <a:lnTo>
                    <a:pt x="1020618" y="954641"/>
                  </a:lnTo>
                  <a:lnTo>
                    <a:pt x="1048890" y="913919"/>
                  </a:lnTo>
                  <a:lnTo>
                    <a:pt x="1058323" y="864434"/>
                  </a:lnTo>
                  <a:lnTo>
                    <a:pt x="1055964" y="838522"/>
                  </a:lnTo>
                  <a:lnTo>
                    <a:pt x="1037107" y="792741"/>
                  </a:lnTo>
                  <a:lnTo>
                    <a:pt x="1000747" y="756382"/>
                  </a:lnTo>
                  <a:lnTo>
                    <a:pt x="954968" y="737521"/>
                  </a:lnTo>
                  <a:lnTo>
                    <a:pt x="433557" y="735160"/>
                  </a:lnTo>
                  <a:lnTo>
                    <a:pt x="390797" y="732557"/>
                  </a:lnTo>
                  <a:lnTo>
                    <a:pt x="323477" y="711700"/>
                  </a:lnTo>
                  <a:lnTo>
                    <a:pt x="280058" y="669282"/>
                  </a:lnTo>
                  <a:lnTo>
                    <a:pt x="258515" y="601288"/>
                  </a:lnTo>
                  <a:lnTo>
                    <a:pt x="255824" y="557428"/>
                  </a:lnTo>
                  <a:lnTo>
                    <a:pt x="255824" y="420091"/>
                  </a:lnTo>
                  <a:lnTo>
                    <a:pt x="258430" y="379958"/>
                  </a:lnTo>
                  <a:lnTo>
                    <a:pt x="279294" y="317350"/>
                  </a:lnTo>
                  <a:lnTo>
                    <a:pt x="320362" y="277805"/>
                  </a:lnTo>
                  <a:lnTo>
                    <a:pt x="377597" y="258269"/>
                  </a:lnTo>
                  <a:lnTo>
                    <a:pt x="412018" y="255824"/>
                  </a:lnTo>
                  <a:lnTo>
                    <a:pt x="751338" y="255824"/>
                  </a:lnTo>
                  <a:lnTo>
                    <a:pt x="795766" y="276441"/>
                  </a:lnTo>
                  <a:lnTo>
                    <a:pt x="810582" y="321801"/>
                  </a:lnTo>
                  <a:lnTo>
                    <a:pt x="809651" y="333922"/>
                  </a:lnTo>
                  <a:lnTo>
                    <a:pt x="787428" y="376187"/>
                  </a:lnTo>
                  <a:lnTo>
                    <a:pt x="471263" y="387778"/>
                  </a:lnTo>
                  <a:lnTo>
                    <a:pt x="442215" y="390027"/>
                  </a:lnTo>
                  <a:lnTo>
                    <a:pt x="395763" y="408001"/>
                  </a:lnTo>
                  <a:lnTo>
                    <a:pt x="364804" y="442110"/>
                  </a:lnTo>
                  <a:lnTo>
                    <a:pt x="349317" y="481372"/>
                  </a:lnTo>
                  <a:lnTo>
                    <a:pt x="347382" y="502236"/>
                  </a:lnTo>
                  <a:lnTo>
                    <a:pt x="349317" y="523115"/>
                  </a:lnTo>
                  <a:lnTo>
                    <a:pt x="364804" y="562370"/>
                  </a:lnTo>
                  <a:lnTo>
                    <a:pt x="395763" y="596475"/>
                  </a:lnTo>
                  <a:lnTo>
                    <a:pt x="442215" y="614430"/>
                  </a:lnTo>
                  <a:lnTo>
                    <a:pt x="471263" y="616672"/>
                  </a:lnTo>
                  <a:lnTo>
                    <a:pt x="751338" y="616672"/>
                  </a:lnTo>
                  <a:lnTo>
                    <a:pt x="802740" y="613816"/>
                  </a:lnTo>
                  <a:lnTo>
                    <a:pt x="849273" y="605240"/>
                  </a:lnTo>
                  <a:lnTo>
                    <a:pt x="890932" y="590936"/>
                  </a:lnTo>
                  <a:lnTo>
                    <a:pt x="927709" y="570893"/>
                  </a:lnTo>
                  <a:lnTo>
                    <a:pt x="959686" y="546582"/>
                  </a:lnTo>
                  <a:lnTo>
                    <a:pt x="986950" y="519403"/>
                  </a:lnTo>
                  <a:lnTo>
                    <a:pt x="1027350" y="456446"/>
                  </a:lnTo>
                  <a:lnTo>
                    <a:pt x="1048879" y="385092"/>
                  </a:lnTo>
                  <a:lnTo>
                    <a:pt x="1052586" y="347392"/>
                  </a:lnTo>
                  <a:lnTo>
                    <a:pt x="1051591" y="308336"/>
                  </a:lnTo>
                  <a:lnTo>
                    <a:pt x="1046119" y="269301"/>
                  </a:lnTo>
                  <a:lnTo>
                    <a:pt x="1036440" y="231598"/>
                  </a:lnTo>
                  <a:lnTo>
                    <a:pt x="1022555" y="195237"/>
                  </a:lnTo>
                  <a:lnTo>
                    <a:pt x="1004461" y="160225"/>
                  </a:lnTo>
                  <a:lnTo>
                    <a:pt x="982073" y="127325"/>
                  </a:lnTo>
                  <a:lnTo>
                    <a:pt x="955307" y="97288"/>
                  </a:lnTo>
                  <a:lnTo>
                    <a:pt x="924169" y="70108"/>
                  </a:lnTo>
                  <a:lnTo>
                    <a:pt x="888664" y="45778"/>
                  </a:lnTo>
                  <a:lnTo>
                    <a:pt x="849109" y="25753"/>
                  </a:lnTo>
                  <a:lnTo>
                    <a:pt x="805855" y="11447"/>
                  </a:lnTo>
                  <a:lnTo>
                    <a:pt x="758901" y="2862"/>
                  </a:lnTo>
                  <a:lnTo>
                    <a:pt x="708250" y="0"/>
                  </a:lnTo>
                  <a:close/>
                </a:path>
              </a:pathLst>
            </a:custGeom>
            <a:solidFill>
              <a:srgbClr val="028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3" name="图片 5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67" r="1245" b="4445"/>
          <a:stretch>
            <a:fillRect/>
          </a:stretch>
        </p:blipFill>
        <p:spPr>
          <a:xfrm>
            <a:off x="0" y="0"/>
            <a:ext cx="2499360" cy="6858000"/>
          </a:xfrm>
          <a:prstGeom prst="rect">
            <a:avLst/>
          </a:prstGeom>
        </p:spPr>
      </p:pic>
      <p:grpSp>
        <p:nvGrpSpPr>
          <p:cNvPr id="54" name="组合 53"/>
          <p:cNvGrpSpPr/>
          <p:nvPr userDrawn="1"/>
        </p:nvGrpSpPr>
        <p:grpSpPr>
          <a:xfrm>
            <a:off x="10699719" y="73152"/>
            <a:ext cx="1371987" cy="505967"/>
            <a:chOff x="8416113" y="2173527"/>
            <a:chExt cx="2609343" cy="962284"/>
          </a:xfrm>
        </p:grpSpPr>
        <p:sp>
          <p:nvSpPr>
            <p:cNvPr id="55" name="object 56"/>
            <p:cNvSpPr>
              <a:spLocks noChangeArrowheads="1"/>
            </p:cNvSpPr>
            <p:nvPr userDrawn="1"/>
          </p:nvSpPr>
          <p:spPr bwMode="auto">
            <a:xfrm>
              <a:off x="9592223" y="2173527"/>
              <a:ext cx="10347" cy="962284"/>
            </a:xfrm>
            <a:custGeom>
              <a:avLst/>
              <a:gdLst>
                <a:gd name="T0" fmla="*/ 11591 w 12065"/>
                <a:gd name="T1" fmla="*/ 0 h 1180465"/>
                <a:gd name="T2" fmla="*/ 0 w 12065"/>
                <a:gd name="T3" fmla="*/ 0 h 1180465"/>
                <a:gd name="T4" fmla="*/ 0 w 12065"/>
                <a:gd name="T5" fmla="*/ 1180131 h 1180465"/>
                <a:gd name="T6" fmla="*/ 11591 w 12065"/>
                <a:gd name="T7" fmla="*/ 1180131 h 1180465"/>
                <a:gd name="T8" fmla="*/ 11591 w 12065"/>
                <a:gd name="T9" fmla="*/ 0 h 1180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65" h="1180465">
                  <a:moveTo>
                    <a:pt x="11591" y="0"/>
                  </a:moveTo>
                  <a:lnTo>
                    <a:pt x="0" y="0"/>
                  </a:lnTo>
                  <a:lnTo>
                    <a:pt x="0" y="1180131"/>
                  </a:lnTo>
                  <a:lnTo>
                    <a:pt x="11591" y="1180131"/>
                  </a:lnTo>
                  <a:lnTo>
                    <a:pt x="11591" y="0"/>
                  </a:lnTo>
                  <a:close/>
                </a:path>
              </a:pathLst>
            </a:custGeom>
            <a:solidFill>
              <a:srgbClr val="6C6C6C"/>
            </a:solidFill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56" name="组合 55"/>
            <p:cNvGrpSpPr/>
            <p:nvPr userDrawn="1"/>
          </p:nvGrpSpPr>
          <p:grpSpPr>
            <a:xfrm>
              <a:off x="9799320" y="2181287"/>
              <a:ext cx="1226136" cy="946763"/>
              <a:chOff x="3252153" y="2959418"/>
              <a:chExt cx="1504950" cy="1162050"/>
            </a:xfrm>
          </p:grpSpPr>
          <p:grpSp>
            <p:nvGrpSpPr>
              <p:cNvPr id="105" name="object 57"/>
              <p:cNvGrpSpPr/>
              <p:nvPr userDrawn="1"/>
            </p:nvGrpSpPr>
            <p:grpSpPr bwMode="auto">
              <a:xfrm>
                <a:off x="3255328" y="4003993"/>
                <a:ext cx="1477962" cy="117475"/>
                <a:chOff x="9666427" y="7834490"/>
                <a:chExt cx="1477645" cy="116839"/>
              </a:xfrm>
            </p:grpSpPr>
            <p:pic>
              <p:nvPicPr>
                <p:cNvPr id="117" name="object 58"/>
                <p:cNvPicPr>
                  <a:picLocks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31655" y="7836230"/>
                  <a:ext cx="104426" cy="1123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8" name="object 59"/>
                <p:cNvSpPr>
                  <a:spLocks noChangeArrowheads="1"/>
                </p:cNvSpPr>
                <p:nvPr/>
              </p:nvSpPr>
              <p:spPr bwMode="auto">
                <a:xfrm>
                  <a:off x="10002407" y="7889309"/>
                  <a:ext cx="43815" cy="19685"/>
                </a:xfrm>
                <a:custGeom>
                  <a:avLst/>
                  <a:gdLst>
                    <a:gd name="T0" fmla="*/ 43464 w 43815"/>
                    <a:gd name="T1" fmla="*/ 0 h 19684"/>
                    <a:gd name="T2" fmla="*/ 0 w 43815"/>
                    <a:gd name="T3" fmla="*/ 0 h 19684"/>
                    <a:gd name="T4" fmla="*/ 0 w 43815"/>
                    <a:gd name="T5" fmla="*/ 19266 h 19684"/>
                    <a:gd name="T6" fmla="*/ 43464 w 43815"/>
                    <a:gd name="T7" fmla="*/ 19266 h 19684"/>
                    <a:gd name="T8" fmla="*/ 43464 w 43815"/>
                    <a:gd name="T9" fmla="*/ 0 h 19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815" h="19684">
                      <a:moveTo>
                        <a:pt x="43464" y="0"/>
                      </a:moveTo>
                      <a:lnTo>
                        <a:pt x="0" y="0"/>
                      </a:lnTo>
                      <a:lnTo>
                        <a:pt x="0" y="19266"/>
                      </a:lnTo>
                      <a:lnTo>
                        <a:pt x="43464" y="19266"/>
                      </a:lnTo>
                      <a:lnTo>
                        <a:pt x="43464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19" name="object 60"/>
                <p:cNvPicPr>
                  <a:picLocks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065354" y="7835727"/>
                  <a:ext cx="222169" cy="1150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20" name="object 61"/>
                <p:cNvSpPr>
                  <a:spLocks noChangeArrowheads="1"/>
                </p:cNvSpPr>
                <p:nvPr/>
              </p:nvSpPr>
              <p:spPr bwMode="auto">
                <a:xfrm>
                  <a:off x="10313721" y="7836960"/>
                  <a:ext cx="58419" cy="111760"/>
                </a:xfrm>
                <a:custGeom>
                  <a:avLst/>
                  <a:gdLst>
                    <a:gd name="T0" fmla="*/ 57975 w 58420"/>
                    <a:gd name="T1" fmla="*/ 92710 h 111759"/>
                    <a:gd name="T2" fmla="*/ 21450 w 58420"/>
                    <a:gd name="T3" fmla="*/ 92710 h 111759"/>
                    <a:gd name="T4" fmla="*/ 21450 w 58420"/>
                    <a:gd name="T5" fmla="*/ 0 h 111759"/>
                    <a:gd name="T6" fmla="*/ 0 w 58420"/>
                    <a:gd name="T7" fmla="*/ 0 h 111759"/>
                    <a:gd name="T8" fmla="*/ 0 w 58420"/>
                    <a:gd name="T9" fmla="*/ 92710 h 111759"/>
                    <a:gd name="T10" fmla="*/ 0 w 58420"/>
                    <a:gd name="T11" fmla="*/ 111760 h 111759"/>
                    <a:gd name="T12" fmla="*/ 57975 w 58420"/>
                    <a:gd name="T13" fmla="*/ 111760 h 111759"/>
                    <a:gd name="T14" fmla="*/ 57975 w 58420"/>
                    <a:gd name="T15" fmla="*/ 92710 h 111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420" h="111759">
                      <a:moveTo>
                        <a:pt x="57975" y="92710"/>
                      </a:moveTo>
                      <a:lnTo>
                        <a:pt x="21450" y="92710"/>
                      </a:lnTo>
                      <a:lnTo>
                        <a:pt x="21450" y="0"/>
                      </a:lnTo>
                      <a:lnTo>
                        <a:pt x="0" y="0"/>
                      </a:lnTo>
                      <a:lnTo>
                        <a:pt x="0" y="92710"/>
                      </a:lnTo>
                      <a:lnTo>
                        <a:pt x="0" y="111760"/>
                      </a:lnTo>
                      <a:lnTo>
                        <a:pt x="57975" y="111760"/>
                      </a:lnTo>
                      <a:lnTo>
                        <a:pt x="57975" y="9271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21" name="object 62"/>
                <p:cNvPicPr>
                  <a:picLocks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394926" y="7834992"/>
                  <a:ext cx="334506" cy="1162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22" name="object 63"/>
                <p:cNvPicPr>
                  <a:picLocks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44226" y="7834490"/>
                  <a:ext cx="95033" cy="11625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23" name="object 64"/>
                <p:cNvSpPr>
                  <a:spLocks noChangeArrowheads="1"/>
                </p:cNvSpPr>
                <p:nvPr/>
              </p:nvSpPr>
              <p:spPr bwMode="auto">
                <a:xfrm>
                  <a:off x="10966421" y="7836226"/>
                  <a:ext cx="61594" cy="112395"/>
                </a:xfrm>
                <a:custGeom>
                  <a:avLst/>
                  <a:gdLst>
                    <a:gd name="T0" fmla="*/ 60971 w 61595"/>
                    <a:gd name="T1" fmla="*/ 0 h 112395"/>
                    <a:gd name="T2" fmla="*/ 0 w 61595"/>
                    <a:gd name="T3" fmla="*/ 0 h 112395"/>
                    <a:gd name="T4" fmla="*/ 0 w 61595"/>
                    <a:gd name="T5" fmla="*/ 112321 h 112395"/>
                    <a:gd name="T6" fmla="*/ 60971 w 61595"/>
                    <a:gd name="T7" fmla="*/ 112321 h 112395"/>
                    <a:gd name="T8" fmla="*/ 60971 w 61595"/>
                    <a:gd name="T9" fmla="*/ 93808 h 112395"/>
                    <a:gd name="T10" fmla="*/ 21727 w 61595"/>
                    <a:gd name="T11" fmla="*/ 93808 h 112395"/>
                    <a:gd name="T12" fmla="*/ 21727 w 61595"/>
                    <a:gd name="T13" fmla="*/ 63453 h 112395"/>
                    <a:gd name="T14" fmla="*/ 59013 w 61595"/>
                    <a:gd name="T15" fmla="*/ 63453 h 112395"/>
                    <a:gd name="T16" fmla="*/ 59013 w 61595"/>
                    <a:gd name="T17" fmla="*/ 45663 h 112395"/>
                    <a:gd name="T18" fmla="*/ 21727 w 61595"/>
                    <a:gd name="T19" fmla="*/ 45663 h 112395"/>
                    <a:gd name="T20" fmla="*/ 21727 w 61595"/>
                    <a:gd name="T21" fmla="*/ 18271 h 112395"/>
                    <a:gd name="T22" fmla="*/ 60971 w 61595"/>
                    <a:gd name="T23" fmla="*/ 18271 h 112395"/>
                    <a:gd name="T24" fmla="*/ 60971 w 61595"/>
                    <a:gd name="T2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1595" h="112395">
                      <a:moveTo>
                        <a:pt x="60971" y="0"/>
                      </a:moveTo>
                      <a:lnTo>
                        <a:pt x="0" y="0"/>
                      </a:lnTo>
                      <a:lnTo>
                        <a:pt x="0" y="112321"/>
                      </a:lnTo>
                      <a:lnTo>
                        <a:pt x="60971" y="112321"/>
                      </a:lnTo>
                      <a:lnTo>
                        <a:pt x="60971" y="93808"/>
                      </a:lnTo>
                      <a:lnTo>
                        <a:pt x="21727" y="93808"/>
                      </a:lnTo>
                      <a:lnTo>
                        <a:pt x="21727" y="63453"/>
                      </a:lnTo>
                      <a:lnTo>
                        <a:pt x="59013" y="63453"/>
                      </a:lnTo>
                      <a:lnTo>
                        <a:pt x="59013" y="45663"/>
                      </a:lnTo>
                      <a:lnTo>
                        <a:pt x="21727" y="45663"/>
                      </a:lnTo>
                      <a:lnTo>
                        <a:pt x="21727" y="18271"/>
                      </a:lnTo>
                      <a:lnTo>
                        <a:pt x="60971" y="18271"/>
                      </a:lnTo>
                      <a:lnTo>
                        <a:pt x="60971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24" name="object 65"/>
                <p:cNvPicPr>
                  <a:picLocks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051085" y="7836233"/>
                  <a:ext cx="92845" cy="112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25" name="object 66"/>
                <p:cNvSpPr>
                  <a:spLocks noChangeArrowheads="1"/>
                </p:cNvSpPr>
                <p:nvPr/>
              </p:nvSpPr>
              <p:spPr bwMode="auto">
                <a:xfrm>
                  <a:off x="9666414" y="7836960"/>
                  <a:ext cx="318770" cy="112395"/>
                </a:xfrm>
                <a:custGeom>
                  <a:avLst/>
                  <a:gdLst>
                    <a:gd name="T0" fmla="*/ 57785 w 318770"/>
                    <a:gd name="T1" fmla="*/ 0 h 112395"/>
                    <a:gd name="T2" fmla="*/ 0 w 318770"/>
                    <a:gd name="T3" fmla="*/ 0 h 112395"/>
                    <a:gd name="T4" fmla="*/ 0 w 318770"/>
                    <a:gd name="T5" fmla="*/ 112331 h 112395"/>
                    <a:gd name="T6" fmla="*/ 22212 w 318770"/>
                    <a:gd name="T7" fmla="*/ 112331 h 112395"/>
                    <a:gd name="T8" fmla="*/ 22212 w 318770"/>
                    <a:gd name="T9" fmla="*/ 65913 h 112395"/>
                    <a:gd name="T10" fmla="*/ 57785 w 318770"/>
                    <a:gd name="T11" fmla="*/ 65913 h 112395"/>
                    <a:gd name="T12" fmla="*/ 57785 w 318770"/>
                    <a:gd name="T13" fmla="*/ 44691 h 112395"/>
                    <a:gd name="T14" fmla="*/ 22212 w 318770"/>
                    <a:gd name="T15" fmla="*/ 44691 h 112395"/>
                    <a:gd name="T16" fmla="*/ 22212 w 318770"/>
                    <a:gd name="T17" fmla="*/ 21247 h 112395"/>
                    <a:gd name="T18" fmla="*/ 57785 w 318770"/>
                    <a:gd name="T19" fmla="*/ 21247 h 112395"/>
                    <a:gd name="T20" fmla="*/ 57785 w 318770"/>
                    <a:gd name="T21" fmla="*/ 0 h 112395"/>
                    <a:gd name="T22" fmla="*/ 176022 w 318770"/>
                    <a:gd name="T23" fmla="*/ 112344 h 112395"/>
                    <a:gd name="T24" fmla="*/ 167894 w 318770"/>
                    <a:gd name="T25" fmla="*/ 89623 h 112395"/>
                    <a:gd name="T26" fmla="*/ 160642 w 318770"/>
                    <a:gd name="T27" fmla="*/ 69380 h 112395"/>
                    <a:gd name="T28" fmla="*/ 144729 w 318770"/>
                    <a:gd name="T29" fmla="*/ 24942 h 112395"/>
                    <a:gd name="T30" fmla="*/ 138506 w 318770"/>
                    <a:gd name="T31" fmla="*/ 7569 h 112395"/>
                    <a:gd name="T32" fmla="*/ 138506 w 318770"/>
                    <a:gd name="T33" fmla="*/ 69380 h 112395"/>
                    <a:gd name="T34" fmla="*/ 109359 w 318770"/>
                    <a:gd name="T35" fmla="*/ 69380 h 112395"/>
                    <a:gd name="T36" fmla="*/ 123926 w 318770"/>
                    <a:gd name="T37" fmla="*/ 24942 h 112395"/>
                    <a:gd name="T38" fmla="*/ 138506 w 318770"/>
                    <a:gd name="T39" fmla="*/ 69380 h 112395"/>
                    <a:gd name="T40" fmla="*/ 138506 w 318770"/>
                    <a:gd name="T41" fmla="*/ 7569 h 112395"/>
                    <a:gd name="T42" fmla="*/ 135801 w 318770"/>
                    <a:gd name="T43" fmla="*/ 12 h 112395"/>
                    <a:gd name="T44" fmla="*/ 112090 w 318770"/>
                    <a:gd name="T45" fmla="*/ 12 h 112395"/>
                    <a:gd name="T46" fmla="*/ 71589 w 318770"/>
                    <a:gd name="T47" fmla="*/ 112344 h 112395"/>
                    <a:gd name="T48" fmla="*/ 95529 w 318770"/>
                    <a:gd name="T49" fmla="*/ 112344 h 112395"/>
                    <a:gd name="T50" fmla="*/ 102946 w 318770"/>
                    <a:gd name="T51" fmla="*/ 89623 h 112395"/>
                    <a:gd name="T52" fmla="*/ 144932 w 318770"/>
                    <a:gd name="T53" fmla="*/ 89623 h 112395"/>
                    <a:gd name="T54" fmla="*/ 152069 w 318770"/>
                    <a:gd name="T55" fmla="*/ 112344 h 112395"/>
                    <a:gd name="T56" fmla="*/ 176022 w 318770"/>
                    <a:gd name="T57" fmla="*/ 112344 h 112395"/>
                    <a:gd name="T58" fmla="*/ 318223 w 318770"/>
                    <a:gd name="T59" fmla="*/ 0 h 112395"/>
                    <a:gd name="T60" fmla="*/ 296735 w 318770"/>
                    <a:gd name="T61" fmla="*/ 0 h 112395"/>
                    <a:gd name="T62" fmla="*/ 276999 w 318770"/>
                    <a:gd name="T63" fmla="*/ 78511 h 112395"/>
                    <a:gd name="T64" fmla="*/ 260451 w 318770"/>
                    <a:gd name="T65" fmla="*/ 0 h 112395"/>
                    <a:gd name="T66" fmla="*/ 235762 w 318770"/>
                    <a:gd name="T67" fmla="*/ 0 h 112395"/>
                    <a:gd name="T68" fmla="*/ 218973 w 318770"/>
                    <a:gd name="T69" fmla="*/ 78511 h 112395"/>
                    <a:gd name="T70" fmla="*/ 199224 w 318770"/>
                    <a:gd name="T71" fmla="*/ 0 h 112395"/>
                    <a:gd name="T72" fmla="*/ 177736 w 318770"/>
                    <a:gd name="T73" fmla="*/ 0 h 112395"/>
                    <a:gd name="T74" fmla="*/ 207124 w 318770"/>
                    <a:gd name="T75" fmla="*/ 112331 h 112395"/>
                    <a:gd name="T76" fmla="*/ 232308 w 318770"/>
                    <a:gd name="T77" fmla="*/ 112331 h 112395"/>
                    <a:gd name="T78" fmla="*/ 248094 w 318770"/>
                    <a:gd name="T79" fmla="*/ 35560 h 112395"/>
                    <a:gd name="T80" fmla="*/ 263906 w 318770"/>
                    <a:gd name="T81" fmla="*/ 112331 h 112395"/>
                    <a:gd name="T82" fmla="*/ 288836 w 318770"/>
                    <a:gd name="T83" fmla="*/ 112331 h 112395"/>
                    <a:gd name="T84" fmla="*/ 318223 w 318770"/>
                    <a:gd name="T8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318770" h="112395">
                      <a:moveTo>
                        <a:pt x="57785" y="0"/>
                      </a:moveTo>
                      <a:lnTo>
                        <a:pt x="0" y="0"/>
                      </a:lnTo>
                      <a:lnTo>
                        <a:pt x="0" y="112331"/>
                      </a:lnTo>
                      <a:lnTo>
                        <a:pt x="22212" y="112331"/>
                      </a:lnTo>
                      <a:lnTo>
                        <a:pt x="22212" y="65913"/>
                      </a:lnTo>
                      <a:lnTo>
                        <a:pt x="57785" y="65913"/>
                      </a:lnTo>
                      <a:lnTo>
                        <a:pt x="57785" y="44691"/>
                      </a:lnTo>
                      <a:lnTo>
                        <a:pt x="22212" y="44691"/>
                      </a:lnTo>
                      <a:lnTo>
                        <a:pt x="22212" y="21247"/>
                      </a:lnTo>
                      <a:lnTo>
                        <a:pt x="57785" y="21247"/>
                      </a:lnTo>
                      <a:lnTo>
                        <a:pt x="57785" y="0"/>
                      </a:lnTo>
                      <a:close/>
                    </a:path>
                    <a:path w="318770" h="112395">
                      <a:moveTo>
                        <a:pt x="176022" y="112344"/>
                      </a:moveTo>
                      <a:lnTo>
                        <a:pt x="167894" y="89623"/>
                      </a:lnTo>
                      <a:lnTo>
                        <a:pt x="160642" y="69380"/>
                      </a:lnTo>
                      <a:lnTo>
                        <a:pt x="144729" y="24942"/>
                      </a:lnTo>
                      <a:lnTo>
                        <a:pt x="138506" y="7569"/>
                      </a:lnTo>
                      <a:lnTo>
                        <a:pt x="138506" y="69380"/>
                      </a:lnTo>
                      <a:lnTo>
                        <a:pt x="109359" y="69380"/>
                      </a:lnTo>
                      <a:lnTo>
                        <a:pt x="123926" y="24942"/>
                      </a:lnTo>
                      <a:lnTo>
                        <a:pt x="138506" y="69380"/>
                      </a:lnTo>
                      <a:lnTo>
                        <a:pt x="138506" y="7569"/>
                      </a:lnTo>
                      <a:lnTo>
                        <a:pt x="135801" y="12"/>
                      </a:lnTo>
                      <a:lnTo>
                        <a:pt x="112090" y="12"/>
                      </a:lnTo>
                      <a:lnTo>
                        <a:pt x="71589" y="112344"/>
                      </a:lnTo>
                      <a:lnTo>
                        <a:pt x="95529" y="112344"/>
                      </a:lnTo>
                      <a:lnTo>
                        <a:pt x="102946" y="89623"/>
                      </a:lnTo>
                      <a:lnTo>
                        <a:pt x="144932" y="89623"/>
                      </a:lnTo>
                      <a:lnTo>
                        <a:pt x="152069" y="112344"/>
                      </a:lnTo>
                      <a:lnTo>
                        <a:pt x="176022" y="112344"/>
                      </a:lnTo>
                      <a:close/>
                    </a:path>
                    <a:path w="318770" h="112395">
                      <a:moveTo>
                        <a:pt x="318223" y="0"/>
                      </a:moveTo>
                      <a:lnTo>
                        <a:pt x="296735" y="0"/>
                      </a:lnTo>
                      <a:lnTo>
                        <a:pt x="276999" y="78511"/>
                      </a:lnTo>
                      <a:lnTo>
                        <a:pt x="260451" y="0"/>
                      </a:lnTo>
                      <a:lnTo>
                        <a:pt x="235762" y="0"/>
                      </a:lnTo>
                      <a:lnTo>
                        <a:pt x="218973" y="78511"/>
                      </a:lnTo>
                      <a:lnTo>
                        <a:pt x="199224" y="0"/>
                      </a:lnTo>
                      <a:lnTo>
                        <a:pt x="177736" y="0"/>
                      </a:lnTo>
                      <a:lnTo>
                        <a:pt x="207124" y="112331"/>
                      </a:lnTo>
                      <a:lnTo>
                        <a:pt x="232308" y="112331"/>
                      </a:lnTo>
                      <a:lnTo>
                        <a:pt x="248094" y="35560"/>
                      </a:lnTo>
                      <a:lnTo>
                        <a:pt x="263906" y="112331"/>
                      </a:lnTo>
                      <a:lnTo>
                        <a:pt x="288836" y="112331"/>
                      </a:lnTo>
                      <a:lnTo>
                        <a:pt x="318223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grpSp>
            <p:nvGrpSpPr>
              <p:cNvPr id="106" name="object 67"/>
              <p:cNvGrpSpPr/>
              <p:nvPr userDrawn="1"/>
            </p:nvGrpSpPr>
            <p:grpSpPr bwMode="auto">
              <a:xfrm>
                <a:off x="3255328" y="3664268"/>
                <a:ext cx="1479550" cy="282575"/>
                <a:chOff x="9666940" y="7495307"/>
                <a:chExt cx="1479550" cy="281940"/>
              </a:xfrm>
            </p:grpSpPr>
            <p:sp>
              <p:nvSpPr>
                <p:cNvPr id="113" name="object 68"/>
                <p:cNvSpPr>
                  <a:spLocks noChangeArrowheads="1"/>
                </p:cNvSpPr>
                <p:nvPr/>
              </p:nvSpPr>
              <p:spPr bwMode="auto">
                <a:xfrm>
                  <a:off x="9666935" y="7603940"/>
                  <a:ext cx="763270" cy="50165"/>
                </a:xfrm>
                <a:custGeom>
                  <a:avLst/>
                  <a:gdLst>
                    <a:gd name="T0" fmla="*/ 270040 w 763270"/>
                    <a:gd name="T1" fmla="*/ 977 h 50165"/>
                    <a:gd name="T2" fmla="*/ 0 w 763270"/>
                    <a:gd name="T3" fmla="*/ 977 h 50165"/>
                    <a:gd name="T4" fmla="*/ 0 w 763270"/>
                    <a:gd name="T5" fmla="*/ 49606 h 50165"/>
                    <a:gd name="T6" fmla="*/ 270040 w 763270"/>
                    <a:gd name="T7" fmla="*/ 49606 h 50165"/>
                    <a:gd name="T8" fmla="*/ 270040 w 763270"/>
                    <a:gd name="T9" fmla="*/ 977 h 50165"/>
                    <a:gd name="T10" fmla="*/ 762787 w 763270"/>
                    <a:gd name="T11" fmla="*/ 0 h 50165"/>
                    <a:gd name="T12" fmla="*/ 665772 w 763270"/>
                    <a:gd name="T13" fmla="*/ 0 h 50165"/>
                    <a:gd name="T14" fmla="*/ 665772 w 763270"/>
                    <a:gd name="T15" fmla="*/ 46405 h 50165"/>
                    <a:gd name="T16" fmla="*/ 762787 w 763270"/>
                    <a:gd name="T17" fmla="*/ 46405 h 50165"/>
                    <a:gd name="T18" fmla="*/ 762787 w 763270"/>
                    <a:gd name="T19" fmla="*/ 0 h 50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63270" h="50165">
                      <a:moveTo>
                        <a:pt x="270040" y="977"/>
                      </a:moveTo>
                      <a:lnTo>
                        <a:pt x="0" y="977"/>
                      </a:lnTo>
                      <a:lnTo>
                        <a:pt x="0" y="49606"/>
                      </a:lnTo>
                      <a:lnTo>
                        <a:pt x="270040" y="49606"/>
                      </a:lnTo>
                      <a:lnTo>
                        <a:pt x="270040" y="977"/>
                      </a:lnTo>
                      <a:close/>
                    </a:path>
                    <a:path w="763270" h="50165">
                      <a:moveTo>
                        <a:pt x="762787" y="0"/>
                      </a:moveTo>
                      <a:lnTo>
                        <a:pt x="665772" y="0"/>
                      </a:lnTo>
                      <a:lnTo>
                        <a:pt x="665772" y="46405"/>
                      </a:lnTo>
                      <a:lnTo>
                        <a:pt x="762787" y="46405"/>
                      </a:lnTo>
                      <a:lnTo>
                        <a:pt x="762787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14" name="object 69"/>
                <p:cNvPicPr>
                  <a:picLocks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977469" y="7495307"/>
                  <a:ext cx="312532" cy="2814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5" name="object 70"/>
                <p:cNvPicPr>
                  <a:picLocks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20519" y="7617008"/>
                  <a:ext cx="325636" cy="1597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6" name="object 71"/>
                <p:cNvSpPr>
                  <a:spLocks noChangeArrowheads="1"/>
                </p:cNvSpPr>
                <p:nvPr/>
              </p:nvSpPr>
              <p:spPr bwMode="auto">
                <a:xfrm>
                  <a:off x="10464304" y="7495799"/>
                  <a:ext cx="675005" cy="281305"/>
                </a:xfrm>
                <a:custGeom>
                  <a:avLst/>
                  <a:gdLst>
                    <a:gd name="T0" fmla="*/ 313512 w 675004"/>
                    <a:gd name="T1" fmla="*/ 238721 h 281304"/>
                    <a:gd name="T2" fmla="*/ 304380 w 675004"/>
                    <a:gd name="T3" fmla="*/ 238721 h 281304"/>
                    <a:gd name="T4" fmla="*/ 295198 w 675004"/>
                    <a:gd name="T5" fmla="*/ 237807 h 281304"/>
                    <a:gd name="T6" fmla="*/ 288391 w 675004"/>
                    <a:gd name="T7" fmla="*/ 234873 h 281304"/>
                    <a:gd name="T8" fmla="*/ 282778 w 675004"/>
                    <a:gd name="T9" fmla="*/ 229666 h 281304"/>
                    <a:gd name="T10" fmla="*/ 277202 w 675004"/>
                    <a:gd name="T11" fmla="*/ 221932 h 281304"/>
                    <a:gd name="T12" fmla="*/ 196989 w 675004"/>
                    <a:gd name="T13" fmla="*/ 86906 h 281304"/>
                    <a:gd name="T14" fmla="*/ 312521 w 675004"/>
                    <a:gd name="T15" fmla="*/ 86906 h 281304"/>
                    <a:gd name="T16" fmla="*/ 312521 w 675004"/>
                    <a:gd name="T17" fmla="*/ 40487 h 281304"/>
                    <a:gd name="T18" fmla="*/ 186118 w 675004"/>
                    <a:gd name="T19" fmla="*/ 40487 h 281304"/>
                    <a:gd name="T20" fmla="*/ 186118 w 675004"/>
                    <a:gd name="T21" fmla="*/ 0 h 281304"/>
                    <a:gd name="T22" fmla="*/ 126873 w 675004"/>
                    <a:gd name="T23" fmla="*/ 0 h 281304"/>
                    <a:gd name="T24" fmla="*/ 126873 w 675004"/>
                    <a:gd name="T25" fmla="*/ 40487 h 281304"/>
                    <a:gd name="T26" fmla="*/ 965 w 675004"/>
                    <a:gd name="T27" fmla="*/ 40487 h 281304"/>
                    <a:gd name="T28" fmla="*/ 965 w 675004"/>
                    <a:gd name="T29" fmla="*/ 86906 h 281304"/>
                    <a:gd name="T30" fmla="*/ 116522 w 675004"/>
                    <a:gd name="T31" fmla="*/ 86906 h 281304"/>
                    <a:gd name="T32" fmla="*/ 36258 w 675004"/>
                    <a:gd name="T33" fmla="*/ 221932 h 281304"/>
                    <a:gd name="T34" fmla="*/ 30480 w 675004"/>
                    <a:gd name="T35" fmla="*/ 229666 h 281304"/>
                    <a:gd name="T36" fmla="*/ 24396 w 675004"/>
                    <a:gd name="T37" fmla="*/ 234873 h 281304"/>
                    <a:gd name="T38" fmla="*/ 17157 w 675004"/>
                    <a:gd name="T39" fmla="*/ 237807 h 281304"/>
                    <a:gd name="T40" fmla="*/ 7899 w 675004"/>
                    <a:gd name="T41" fmla="*/ 238721 h 281304"/>
                    <a:gd name="T42" fmla="*/ 0 w 675004"/>
                    <a:gd name="T43" fmla="*/ 238721 h 281304"/>
                    <a:gd name="T44" fmla="*/ 0 w 675004"/>
                    <a:gd name="T45" fmla="*/ 280936 h 281304"/>
                    <a:gd name="T46" fmla="*/ 22707 w 675004"/>
                    <a:gd name="T47" fmla="*/ 280936 h 281304"/>
                    <a:gd name="T48" fmla="*/ 42532 w 675004"/>
                    <a:gd name="T49" fmla="*/ 280479 h 281304"/>
                    <a:gd name="T50" fmla="*/ 57848 w 675004"/>
                    <a:gd name="T51" fmla="*/ 277317 h 281304"/>
                    <a:gd name="T52" fmla="*/ 70713 w 675004"/>
                    <a:gd name="T53" fmla="*/ 268744 h 281304"/>
                    <a:gd name="T54" fmla="*/ 83172 w 675004"/>
                    <a:gd name="T55" fmla="*/ 252056 h 281304"/>
                    <a:gd name="T56" fmla="*/ 156756 w 675004"/>
                    <a:gd name="T57" fmla="*/ 129120 h 281304"/>
                    <a:gd name="T58" fmla="*/ 230314 w 675004"/>
                    <a:gd name="T59" fmla="*/ 252056 h 281304"/>
                    <a:gd name="T60" fmla="*/ 242646 w 675004"/>
                    <a:gd name="T61" fmla="*/ 268744 h 281304"/>
                    <a:gd name="T62" fmla="*/ 255460 w 675004"/>
                    <a:gd name="T63" fmla="*/ 277317 h 281304"/>
                    <a:gd name="T64" fmla="*/ 270827 w 675004"/>
                    <a:gd name="T65" fmla="*/ 280479 h 281304"/>
                    <a:gd name="T66" fmla="*/ 290791 w 675004"/>
                    <a:gd name="T67" fmla="*/ 280936 h 281304"/>
                    <a:gd name="T68" fmla="*/ 313512 w 675004"/>
                    <a:gd name="T69" fmla="*/ 280936 h 281304"/>
                    <a:gd name="T70" fmla="*/ 313512 w 675004"/>
                    <a:gd name="T71" fmla="*/ 238721 h 281304"/>
                    <a:gd name="T72" fmla="*/ 674928 w 675004"/>
                    <a:gd name="T73" fmla="*/ 68872 h 281304"/>
                    <a:gd name="T74" fmla="*/ 653173 w 675004"/>
                    <a:gd name="T75" fmla="*/ 68872 h 281304"/>
                    <a:gd name="T76" fmla="*/ 622833 w 675004"/>
                    <a:gd name="T77" fmla="*/ 3213 h 281304"/>
                    <a:gd name="T78" fmla="*/ 419658 w 675004"/>
                    <a:gd name="T79" fmla="*/ 3213 h 281304"/>
                    <a:gd name="T80" fmla="*/ 395960 w 675004"/>
                    <a:gd name="T81" fmla="*/ 54330 h 281304"/>
                    <a:gd name="T82" fmla="*/ 389064 w 675004"/>
                    <a:gd name="T83" fmla="*/ 68872 h 281304"/>
                    <a:gd name="T84" fmla="*/ 367347 w 675004"/>
                    <a:gd name="T85" fmla="*/ 68872 h 281304"/>
                    <a:gd name="T86" fmla="*/ 367347 w 675004"/>
                    <a:gd name="T87" fmla="*/ 110591 h 281304"/>
                    <a:gd name="T88" fmla="*/ 396963 w 675004"/>
                    <a:gd name="T89" fmla="*/ 110591 h 281304"/>
                    <a:gd name="T90" fmla="*/ 411289 w 675004"/>
                    <a:gd name="T91" fmla="*/ 109651 h 281304"/>
                    <a:gd name="T92" fmla="*/ 422592 w 675004"/>
                    <a:gd name="T93" fmla="*/ 106095 h 281304"/>
                    <a:gd name="T94" fmla="*/ 431622 w 675004"/>
                    <a:gd name="T95" fmla="*/ 98729 h 281304"/>
                    <a:gd name="T96" fmla="*/ 439153 w 675004"/>
                    <a:gd name="T97" fmla="*/ 86423 h 281304"/>
                    <a:gd name="T98" fmla="*/ 455942 w 675004"/>
                    <a:gd name="T99" fmla="*/ 49860 h 281304"/>
                    <a:gd name="T100" fmla="*/ 586295 w 675004"/>
                    <a:gd name="T101" fmla="*/ 49860 h 281304"/>
                    <a:gd name="T102" fmla="*/ 604558 w 675004"/>
                    <a:gd name="T103" fmla="*/ 86423 h 281304"/>
                    <a:gd name="T104" fmla="*/ 647255 w 675004"/>
                    <a:gd name="T105" fmla="*/ 110591 h 281304"/>
                    <a:gd name="T106" fmla="*/ 674928 w 675004"/>
                    <a:gd name="T107" fmla="*/ 110591 h 281304"/>
                    <a:gd name="T108" fmla="*/ 674928 w 675004"/>
                    <a:gd name="T109" fmla="*/ 68872 h 281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75004" h="281304">
                      <a:moveTo>
                        <a:pt x="313512" y="238721"/>
                      </a:moveTo>
                      <a:lnTo>
                        <a:pt x="304380" y="238721"/>
                      </a:lnTo>
                      <a:lnTo>
                        <a:pt x="295198" y="237807"/>
                      </a:lnTo>
                      <a:lnTo>
                        <a:pt x="288391" y="234873"/>
                      </a:lnTo>
                      <a:lnTo>
                        <a:pt x="282778" y="229666"/>
                      </a:lnTo>
                      <a:lnTo>
                        <a:pt x="277202" y="221932"/>
                      </a:lnTo>
                      <a:lnTo>
                        <a:pt x="196989" y="86906"/>
                      </a:lnTo>
                      <a:lnTo>
                        <a:pt x="312521" y="86906"/>
                      </a:lnTo>
                      <a:lnTo>
                        <a:pt x="312521" y="40487"/>
                      </a:lnTo>
                      <a:lnTo>
                        <a:pt x="186118" y="40487"/>
                      </a:lnTo>
                      <a:lnTo>
                        <a:pt x="186118" y="0"/>
                      </a:lnTo>
                      <a:lnTo>
                        <a:pt x="126873" y="0"/>
                      </a:lnTo>
                      <a:lnTo>
                        <a:pt x="126873" y="40487"/>
                      </a:lnTo>
                      <a:lnTo>
                        <a:pt x="965" y="40487"/>
                      </a:lnTo>
                      <a:lnTo>
                        <a:pt x="965" y="86906"/>
                      </a:lnTo>
                      <a:lnTo>
                        <a:pt x="116522" y="86906"/>
                      </a:lnTo>
                      <a:lnTo>
                        <a:pt x="36258" y="221932"/>
                      </a:lnTo>
                      <a:lnTo>
                        <a:pt x="30480" y="229666"/>
                      </a:lnTo>
                      <a:lnTo>
                        <a:pt x="24396" y="234873"/>
                      </a:lnTo>
                      <a:lnTo>
                        <a:pt x="17157" y="237807"/>
                      </a:lnTo>
                      <a:lnTo>
                        <a:pt x="7899" y="238721"/>
                      </a:lnTo>
                      <a:lnTo>
                        <a:pt x="0" y="238721"/>
                      </a:lnTo>
                      <a:lnTo>
                        <a:pt x="0" y="280936"/>
                      </a:lnTo>
                      <a:lnTo>
                        <a:pt x="22707" y="280936"/>
                      </a:lnTo>
                      <a:lnTo>
                        <a:pt x="42532" y="280479"/>
                      </a:lnTo>
                      <a:lnTo>
                        <a:pt x="57848" y="277317"/>
                      </a:lnTo>
                      <a:lnTo>
                        <a:pt x="70713" y="268744"/>
                      </a:lnTo>
                      <a:lnTo>
                        <a:pt x="83172" y="252056"/>
                      </a:lnTo>
                      <a:lnTo>
                        <a:pt x="156756" y="129120"/>
                      </a:lnTo>
                      <a:lnTo>
                        <a:pt x="230314" y="252056"/>
                      </a:lnTo>
                      <a:lnTo>
                        <a:pt x="242646" y="268744"/>
                      </a:lnTo>
                      <a:lnTo>
                        <a:pt x="255460" y="277317"/>
                      </a:lnTo>
                      <a:lnTo>
                        <a:pt x="270827" y="280479"/>
                      </a:lnTo>
                      <a:lnTo>
                        <a:pt x="290791" y="280936"/>
                      </a:lnTo>
                      <a:lnTo>
                        <a:pt x="313512" y="280936"/>
                      </a:lnTo>
                      <a:lnTo>
                        <a:pt x="313512" y="238721"/>
                      </a:lnTo>
                      <a:close/>
                    </a:path>
                    <a:path w="675004" h="281304">
                      <a:moveTo>
                        <a:pt x="674928" y="68872"/>
                      </a:moveTo>
                      <a:lnTo>
                        <a:pt x="653173" y="68872"/>
                      </a:lnTo>
                      <a:lnTo>
                        <a:pt x="622833" y="3213"/>
                      </a:lnTo>
                      <a:lnTo>
                        <a:pt x="419658" y="3213"/>
                      </a:lnTo>
                      <a:lnTo>
                        <a:pt x="395960" y="54330"/>
                      </a:lnTo>
                      <a:lnTo>
                        <a:pt x="389064" y="68872"/>
                      </a:lnTo>
                      <a:lnTo>
                        <a:pt x="367347" y="68872"/>
                      </a:lnTo>
                      <a:lnTo>
                        <a:pt x="367347" y="110591"/>
                      </a:lnTo>
                      <a:lnTo>
                        <a:pt x="396963" y="110591"/>
                      </a:lnTo>
                      <a:lnTo>
                        <a:pt x="411289" y="109651"/>
                      </a:lnTo>
                      <a:lnTo>
                        <a:pt x="422592" y="106095"/>
                      </a:lnTo>
                      <a:lnTo>
                        <a:pt x="431622" y="98729"/>
                      </a:lnTo>
                      <a:lnTo>
                        <a:pt x="439153" y="86423"/>
                      </a:lnTo>
                      <a:lnTo>
                        <a:pt x="455942" y="49860"/>
                      </a:lnTo>
                      <a:lnTo>
                        <a:pt x="586295" y="49860"/>
                      </a:lnTo>
                      <a:lnTo>
                        <a:pt x="604558" y="86423"/>
                      </a:lnTo>
                      <a:lnTo>
                        <a:pt x="647255" y="110591"/>
                      </a:lnTo>
                      <a:lnTo>
                        <a:pt x="674928" y="110591"/>
                      </a:lnTo>
                      <a:lnTo>
                        <a:pt x="674928" y="68872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sp>
            <p:nvSpPr>
              <p:cNvPr id="107" name="object 72"/>
              <p:cNvSpPr>
                <a:spLocks noChangeArrowheads="1"/>
              </p:cNvSpPr>
              <p:nvPr userDrawn="1"/>
            </p:nvSpPr>
            <p:spPr bwMode="auto">
              <a:xfrm>
                <a:off x="4174490" y="2959418"/>
                <a:ext cx="582613" cy="581025"/>
              </a:xfrm>
              <a:custGeom>
                <a:avLst/>
                <a:gdLst>
                  <a:gd name="T0" fmla="*/ 198927 w 582295"/>
                  <a:gd name="T1" fmla="*/ 14813 h 582295"/>
                  <a:gd name="T2" fmla="*/ 85145 w 582295"/>
                  <a:gd name="T3" fmla="*/ 85146 h 582295"/>
                  <a:gd name="T4" fmla="*/ 14813 w 582295"/>
                  <a:gd name="T5" fmla="*/ 198932 h 582295"/>
                  <a:gd name="T6" fmla="*/ 3802 w 582295"/>
                  <a:gd name="T7" fmla="*/ 338251 h 582295"/>
                  <a:gd name="T8" fmla="*/ 56080 w 582295"/>
                  <a:gd name="T9" fmla="*/ 462948 h 582295"/>
                  <a:gd name="T10" fmla="*/ 157164 w 582295"/>
                  <a:gd name="T11" fmla="*/ 549546 h 582295"/>
                  <a:gd name="T12" fmla="*/ 290985 w 582295"/>
                  <a:gd name="T13" fmla="*/ 581982 h 582295"/>
                  <a:gd name="T14" fmla="*/ 411521 w 582295"/>
                  <a:gd name="T15" fmla="*/ 555155 h 582295"/>
                  <a:gd name="T16" fmla="*/ 199405 w 582295"/>
                  <a:gd name="T17" fmla="*/ 538489 h 582295"/>
                  <a:gd name="T18" fmla="*/ 89829 w 582295"/>
                  <a:gd name="T19" fmla="*/ 460690 h 582295"/>
                  <a:gd name="T20" fmla="*/ 31911 w 582295"/>
                  <a:gd name="T21" fmla="*/ 338159 h 582295"/>
                  <a:gd name="T22" fmla="*/ 31857 w 582295"/>
                  <a:gd name="T23" fmla="*/ 243496 h 582295"/>
                  <a:gd name="T24" fmla="*/ 94308 w 582295"/>
                  <a:gd name="T25" fmla="*/ 198737 h 582295"/>
                  <a:gd name="T26" fmla="*/ 111360 w 582295"/>
                  <a:gd name="T27" fmla="*/ 98609 h 582295"/>
                  <a:gd name="T28" fmla="*/ 212796 w 582295"/>
                  <a:gd name="T29" fmla="*/ 59746 h 582295"/>
                  <a:gd name="T30" fmla="*/ 246691 w 582295"/>
                  <a:gd name="T31" fmla="*/ 30688 h 582295"/>
                  <a:gd name="T32" fmla="*/ 411516 w 582295"/>
                  <a:gd name="T33" fmla="*/ 26826 h 582295"/>
                  <a:gd name="T34" fmla="*/ 290985 w 582295"/>
                  <a:gd name="T35" fmla="*/ 0 h 582295"/>
                  <a:gd name="T36" fmla="*/ 544916 w 582295"/>
                  <a:gd name="T37" fmla="*/ 220755 h 582295"/>
                  <a:gd name="T38" fmla="*/ 554339 w 582295"/>
                  <a:gd name="T39" fmla="*/ 290996 h 582295"/>
                  <a:gd name="T40" fmla="*/ 518214 w 582295"/>
                  <a:gd name="T41" fmla="*/ 423782 h 582295"/>
                  <a:gd name="T42" fmla="*/ 423567 w 582295"/>
                  <a:gd name="T43" fmla="*/ 518820 h 582295"/>
                  <a:gd name="T44" fmla="*/ 290985 w 582295"/>
                  <a:gd name="T45" fmla="*/ 555155 h 582295"/>
                  <a:gd name="T46" fmla="*/ 496835 w 582295"/>
                  <a:gd name="T47" fmla="*/ 496840 h 582295"/>
                  <a:gd name="T48" fmla="*/ 567168 w 582295"/>
                  <a:gd name="T49" fmla="*/ 383058 h 582295"/>
                  <a:gd name="T50" fmla="*/ 578179 w 582295"/>
                  <a:gd name="T51" fmla="*/ 243740 h 582295"/>
                  <a:gd name="T52" fmla="*/ 94308 w 582295"/>
                  <a:gd name="T53" fmla="*/ 198737 h 582295"/>
                  <a:gd name="T54" fmla="*/ 202800 w 582295"/>
                  <a:gd name="T55" fmla="*/ 516141 h 582295"/>
                  <a:gd name="T56" fmla="*/ 255538 w 582295"/>
                  <a:gd name="T57" fmla="*/ 422269 h 582295"/>
                  <a:gd name="T58" fmla="*/ 94308 w 582295"/>
                  <a:gd name="T59" fmla="*/ 198737 h 582295"/>
                  <a:gd name="T60" fmla="*/ 294242 w 582295"/>
                  <a:gd name="T61" fmla="*/ 349926 h 582295"/>
                  <a:gd name="T62" fmla="*/ 379182 w 582295"/>
                  <a:gd name="T63" fmla="*/ 516141 h 582295"/>
                  <a:gd name="T64" fmla="*/ 373486 w 582295"/>
                  <a:gd name="T65" fmla="*/ 422269 h 582295"/>
                  <a:gd name="T66" fmla="*/ 317403 w 582295"/>
                  <a:gd name="T67" fmla="*/ 298713 h 582295"/>
                  <a:gd name="T68" fmla="*/ 260505 w 582295"/>
                  <a:gd name="T69" fmla="*/ 303592 h 582295"/>
                  <a:gd name="T70" fmla="*/ 255538 w 582295"/>
                  <a:gd name="T71" fmla="*/ 422269 h 582295"/>
                  <a:gd name="T72" fmla="*/ 340279 w 582295"/>
                  <a:gd name="T73" fmla="*/ 346670 h 582295"/>
                  <a:gd name="T74" fmla="*/ 317403 w 582295"/>
                  <a:gd name="T75" fmla="*/ 298713 h 582295"/>
                  <a:gd name="T76" fmla="*/ 445504 w 582295"/>
                  <a:gd name="T77" fmla="*/ 77596 h 582295"/>
                  <a:gd name="T78" fmla="*/ 512487 w 582295"/>
                  <a:gd name="T79" fmla="*/ 148749 h 582295"/>
                  <a:gd name="T80" fmla="*/ 537690 w 582295"/>
                  <a:gd name="T81" fmla="*/ 198737 h 582295"/>
                  <a:gd name="T82" fmla="*/ 525901 w 582295"/>
                  <a:gd name="T83" fmla="*/ 119040 h 582295"/>
                  <a:gd name="T84" fmla="*/ 212796 w 582295"/>
                  <a:gd name="T85" fmla="*/ 59746 h 582295"/>
                  <a:gd name="T86" fmla="*/ 262128 w 582295"/>
                  <a:gd name="T87" fmla="*/ 278399 h 582295"/>
                  <a:gd name="T88" fmla="*/ 319843 w 582295"/>
                  <a:gd name="T89" fmla="*/ 278399 h 582295"/>
                  <a:gd name="T90" fmla="*/ 289362 w 582295"/>
                  <a:gd name="T91" fmla="*/ 231249 h 582295"/>
                  <a:gd name="T92" fmla="*/ 411516 w 582295"/>
                  <a:gd name="T93" fmla="*/ 26826 h 582295"/>
                  <a:gd name="T94" fmla="*/ 335289 w 582295"/>
                  <a:gd name="T95" fmla="*/ 30688 h 582295"/>
                  <a:gd name="T96" fmla="*/ 294242 w 582295"/>
                  <a:gd name="T97" fmla="*/ 228003 h 582295"/>
                  <a:gd name="T98" fmla="*/ 417788 w 582295"/>
                  <a:gd name="T99" fmla="*/ 59746 h 582295"/>
                  <a:gd name="T100" fmla="*/ 424814 w 582295"/>
                  <a:gd name="T101" fmla="*/ 32438 h 582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82295" h="582295">
                    <a:moveTo>
                      <a:pt x="290985" y="0"/>
                    </a:moveTo>
                    <a:lnTo>
                      <a:pt x="243733" y="3802"/>
                    </a:lnTo>
                    <a:lnTo>
                      <a:pt x="198927" y="14813"/>
                    </a:lnTo>
                    <a:lnTo>
                      <a:pt x="157164" y="32438"/>
                    </a:lnTo>
                    <a:lnTo>
                      <a:pt x="119038" y="56080"/>
                    </a:lnTo>
                    <a:lnTo>
                      <a:pt x="85145" y="85146"/>
                    </a:lnTo>
                    <a:lnTo>
                      <a:pt x="56080" y="119040"/>
                    </a:lnTo>
                    <a:lnTo>
                      <a:pt x="32437" y="157167"/>
                    </a:lnTo>
                    <a:lnTo>
                      <a:pt x="14813" y="198932"/>
                    </a:lnTo>
                    <a:lnTo>
                      <a:pt x="3802" y="243740"/>
                    </a:lnTo>
                    <a:lnTo>
                      <a:pt x="0" y="290996"/>
                    </a:lnTo>
                    <a:lnTo>
                      <a:pt x="3802" y="338251"/>
                    </a:lnTo>
                    <a:lnTo>
                      <a:pt x="14813" y="383058"/>
                    </a:lnTo>
                    <a:lnTo>
                      <a:pt x="32437" y="424822"/>
                    </a:lnTo>
                    <a:lnTo>
                      <a:pt x="56080" y="462948"/>
                    </a:lnTo>
                    <a:lnTo>
                      <a:pt x="85145" y="496840"/>
                    </a:lnTo>
                    <a:lnTo>
                      <a:pt x="119038" y="525905"/>
                    </a:lnTo>
                    <a:lnTo>
                      <a:pt x="157164" y="549546"/>
                    </a:lnTo>
                    <a:lnTo>
                      <a:pt x="198927" y="567169"/>
                    </a:lnTo>
                    <a:lnTo>
                      <a:pt x="243733" y="578179"/>
                    </a:lnTo>
                    <a:lnTo>
                      <a:pt x="290985" y="581982"/>
                    </a:lnTo>
                    <a:lnTo>
                      <a:pt x="338241" y="578179"/>
                    </a:lnTo>
                    <a:lnTo>
                      <a:pt x="383049" y="567169"/>
                    </a:lnTo>
                    <a:lnTo>
                      <a:pt x="411521" y="555155"/>
                    </a:lnTo>
                    <a:lnTo>
                      <a:pt x="290985" y="555155"/>
                    </a:lnTo>
                    <a:lnTo>
                      <a:pt x="243850" y="550859"/>
                    </a:lnTo>
                    <a:lnTo>
                      <a:pt x="199405" y="538489"/>
                    </a:lnTo>
                    <a:lnTo>
                      <a:pt x="158411" y="518820"/>
                    </a:lnTo>
                    <a:lnTo>
                      <a:pt x="121631" y="492628"/>
                    </a:lnTo>
                    <a:lnTo>
                      <a:pt x="89829" y="460690"/>
                    </a:lnTo>
                    <a:lnTo>
                      <a:pt x="63766" y="423782"/>
                    </a:lnTo>
                    <a:lnTo>
                      <a:pt x="44206" y="382680"/>
                    </a:lnTo>
                    <a:lnTo>
                      <a:pt x="31911" y="338159"/>
                    </a:lnTo>
                    <a:lnTo>
                      <a:pt x="27643" y="290996"/>
                    </a:lnTo>
                    <a:lnTo>
                      <a:pt x="28702" y="266922"/>
                    </a:lnTo>
                    <a:lnTo>
                      <a:pt x="31857" y="243496"/>
                    </a:lnTo>
                    <a:lnTo>
                      <a:pt x="37069" y="220755"/>
                    </a:lnTo>
                    <a:lnTo>
                      <a:pt x="44302" y="198737"/>
                    </a:lnTo>
                    <a:lnTo>
                      <a:pt x="94308" y="198737"/>
                    </a:lnTo>
                    <a:lnTo>
                      <a:pt x="69505" y="148749"/>
                    </a:lnTo>
                    <a:lnTo>
                      <a:pt x="88986" y="122441"/>
                    </a:lnTo>
                    <a:lnTo>
                      <a:pt x="111360" y="98609"/>
                    </a:lnTo>
                    <a:lnTo>
                      <a:pt x="136479" y="77596"/>
                    </a:lnTo>
                    <a:lnTo>
                      <a:pt x="164193" y="59746"/>
                    </a:lnTo>
                    <a:lnTo>
                      <a:pt x="212796" y="59746"/>
                    </a:lnTo>
                    <a:lnTo>
                      <a:pt x="204831" y="41862"/>
                    </a:lnTo>
                    <a:lnTo>
                      <a:pt x="225381" y="35400"/>
                    </a:lnTo>
                    <a:lnTo>
                      <a:pt x="246691" y="30688"/>
                    </a:lnTo>
                    <a:lnTo>
                      <a:pt x="268609" y="27804"/>
                    </a:lnTo>
                    <a:lnTo>
                      <a:pt x="290985" y="26826"/>
                    </a:lnTo>
                    <a:lnTo>
                      <a:pt x="411516" y="26826"/>
                    </a:lnTo>
                    <a:lnTo>
                      <a:pt x="383049" y="14813"/>
                    </a:lnTo>
                    <a:lnTo>
                      <a:pt x="338241" y="3802"/>
                    </a:lnTo>
                    <a:lnTo>
                      <a:pt x="290985" y="0"/>
                    </a:lnTo>
                    <a:close/>
                  </a:path>
                  <a:path w="582295" h="582295">
                    <a:moveTo>
                      <a:pt x="567086" y="198737"/>
                    </a:moveTo>
                    <a:lnTo>
                      <a:pt x="537690" y="198737"/>
                    </a:lnTo>
                    <a:lnTo>
                      <a:pt x="544916" y="220755"/>
                    </a:lnTo>
                    <a:lnTo>
                      <a:pt x="550125" y="243496"/>
                    </a:lnTo>
                    <a:lnTo>
                      <a:pt x="553279" y="266922"/>
                    </a:lnTo>
                    <a:lnTo>
                      <a:pt x="554339" y="290996"/>
                    </a:lnTo>
                    <a:lnTo>
                      <a:pt x="550071" y="338159"/>
                    </a:lnTo>
                    <a:lnTo>
                      <a:pt x="537775" y="382680"/>
                    </a:lnTo>
                    <a:lnTo>
                      <a:pt x="518214" y="423782"/>
                    </a:lnTo>
                    <a:lnTo>
                      <a:pt x="492151" y="460690"/>
                    </a:lnTo>
                    <a:lnTo>
                      <a:pt x="460348" y="492628"/>
                    </a:lnTo>
                    <a:lnTo>
                      <a:pt x="423567" y="518820"/>
                    </a:lnTo>
                    <a:lnTo>
                      <a:pt x="382572" y="538489"/>
                    </a:lnTo>
                    <a:lnTo>
                      <a:pt x="338124" y="550859"/>
                    </a:lnTo>
                    <a:lnTo>
                      <a:pt x="290985" y="555155"/>
                    </a:lnTo>
                    <a:lnTo>
                      <a:pt x="411521" y="555155"/>
                    </a:lnTo>
                    <a:lnTo>
                      <a:pt x="462941" y="525905"/>
                    </a:lnTo>
                    <a:lnTo>
                      <a:pt x="496835" y="496840"/>
                    </a:lnTo>
                    <a:lnTo>
                      <a:pt x="525901" y="462948"/>
                    </a:lnTo>
                    <a:lnTo>
                      <a:pt x="549544" y="424822"/>
                    </a:lnTo>
                    <a:lnTo>
                      <a:pt x="567168" y="383058"/>
                    </a:lnTo>
                    <a:lnTo>
                      <a:pt x="578179" y="338251"/>
                    </a:lnTo>
                    <a:lnTo>
                      <a:pt x="581982" y="290996"/>
                    </a:lnTo>
                    <a:lnTo>
                      <a:pt x="578179" y="243740"/>
                    </a:lnTo>
                    <a:lnTo>
                      <a:pt x="567168" y="198932"/>
                    </a:lnTo>
                    <a:lnTo>
                      <a:pt x="567086" y="198737"/>
                    </a:lnTo>
                    <a:close/>
                  </a:path>
                  <a:path w="582295" h="582295">
                    <a:moveTo>
                      <a:pt x="94308" y="198737"/>
                    </a:moveTo>
                    <a:lnTo>
                      <a:pt x="44302" y="198737"/>
                    </a:lnTo>
                    <a:lnTo>
                      <a:pt x="200360" y="512916"/>
                    </a:lnTo>
                    <a:lnTo>
                      <a:pt x="202800" y="516141"/>
                    </a:lnTo>
                    <a:lnTo>
                      <a:pt x="212558" y="516141"/>
                    </a:lnTo>
                    <a:lnTo>
                      <a:pt x="215239" y="512832"/>
                    </a:lnTo>
                    <a:lnTo>
                      <a:pt x="255538" y="422269"/>
                    </a:lnTo>
                    <a:lnTo>
                      <a:pt x="205239" y="422269"/>
                    </a:lnTo>
                    <a:lnTo>
                      <a:pt x="203606" y="419013"/>
                    </a:lnTo>
                    <a:lnTo>
                      <a:pt x="94308" y="198737"/>
                    </a:lnTo>
                    <a:close/>
                  </a:path>
                  <a:path w="582295" h="582295">
                    <a:moveTo>
                      <a:pt x="340279" y="346670"/>
                    </a:moveTo>
                    <a:lnTo>
                      <a:pt x="292608" y="346670"/>
                    </a:lnTo>
                    <a:lnTo>
                      <a:pt x="294242" y="349926"/>
                    </a:lnTo>
                    <a:lnTo>
                      <a:pt x="366742" y="512832"/>
                    </a:lnTo>
                    <a:lnTo>
                      <a:pt x="369423" y="516141"/>
                    </a:lnTo>
                    <a:lnTo>
                      <a:pt x="379182" y="516141"/>
                    </a:lnTo>
                    <a:lnTo>
                      <a:pt x="381613" y="512916"/>
                    </a:lnTo>
                    <a:lnTo>
                      <a:pt x="426646" y="422269"/>
                    </a:lnTo>
                    <a:lnTo>
                      <a:pt x="373486" y="422269"/>
                    </a:lnTo>
                    <a:lnTo>
                      <a:pt x="371873" y="419013"/>
                    </a:lnTo>
                    <a:lnTo>
                      <a:pt x="340279" y="346670"/>
                    </a:lnTo>
                    <a:close/>
                  </a:path>
                  <a:path w="582295" h="582295">
                    <a:moveTo>
                      <a:pt x="317403" y="298713"/>
                    </a:moveTo>
                    <a:lnTo>
                      <a:pt x="264578" y="298713"/>
                    </a:lnTo>
                    <a:lnTo>
                      <a:pt x="262128" y="299530"/>
                    </a:lnTo>
                    <a:lnTo>
                      <a:pt x="260505" y="303592"/>
                    </a:lnTo>
                    <a:lnTo>
                      <a:pt x="210108" y="419013"/>
                    </a:lnTo>
                    <a:lnTo>
                      <a:pt x="208485" y="422269"/>
                    </a:lnTo>
                    <a:lnTo>
                      <a:pt x="255538" y="422269"/>
                    </a:lnTo>
                    <a:lnTo>
                      <a:pt x="287729" y="349926"/>
                    </a:lnTo>
                    <a:lnTo>
                      <a:pt x="289362" y="346670"/>
                    </a:lnTo>
                    <a:lnTo>
                      <a:pt x="340279" y="346670"/>
                    </a:lnTo>
                    <a:lnTo>
                      <a:pt x="321466" y="303592"/>
                    </a:lnTo>
                    <a:lnTo>
                      <a:pt x="319843" y="299530"/>
                    </a:lnTo>
                    <a:lnTo>
                      <a:pt x="317403" y="298713"/>
                    </a:lnTo>
                    <a:close/>
                  </a:path>
                  <a:path w="582295" h="582295">
                    <a:moveTo>
                      <a:pt x="467216" y="59746"/>
                    </a:moveTo>
                    <a:lnTo>
                      <a:pt x="417788" y="59746"/>
                    </a:lnTo>
                    <a:lnTo>
                      <a:pt x="445504" y="77596"/>
                    </a:lnTo>
                    <a:lnTo>
                      <a:pt x="470627" y="98609"/>
                    </a:lnTo>
                    <a:lnTo>
                      <a:pt x="493004" y="122441"/>
                    </a:lnTo>
                    <a:lnTo>
                      <a:pt x="512487" y="148749"/>
                    </a:lnTo>
                    <a:lnTo>
                      <a:pt x="376742" y="422269"/>
                    </a:lnTo>
                    <a:lnTo>
                      <a:pt x="426646" y="422269"/>
                    </a:lnTo>
                    <a:lnTo>
                      <a:pt x="537690" y="198737"/>
                    </a:lnTo>
                    <a:lnTo>
                      <a:pt x="567086" y="198737"/>
                    </a:lnTo>
                    <a:lnTo>
                      <a:pt x="549544" y="157167"/>
                    </a:lnTo>
                    <a:lnTo>
                      <a:pt x="525901" y="119040"/>
                    </a:lnTo>
                    <a:lnTo>
                      <a:pt x="496835" y="85146"/>
                    </a:lnTo>
                    <a:lnTo>
                      <a:pt x="467216" y="59746"/>
                    </a:lnTo>
                    <a:close/>
                  </a:path>
                  <a:path w="582295" h="582295">
                    <a:moveTo>
                      <a:pt x="212796" y="59746"/>
                    </a:moveTo>
                    <a:lnTo>
                      <a:pt x="164193" y="59746"/>
                    </a:lnTo>
                    <a:lnTo>
                      <a:pt x="260505" y="274337"/>
                    </a:lnTo>
                    <a:lnTo>
                      <a:pt x="262128" y="278399"/>
                    </a:lnTo>
                    <a:lnTo>
                      <a:pt x="264578" y="279206"/>
                    </a:lnTo>
                    <a:lnTo>
                      <a:pt x="317403" y="279206"/>
                    </a:lnTo>
                    <a:lnTo>
                      <a:pt x="319843" y="278399"/>
                    </a:lnTo>
                    <a:lnTo>
                      <a:pt x="321466" y="274337"/>
                    </a:lnTo>
                    <a:lnTo>
                      <a:pt x="340807" y="231249"/>
                    </a:lnTo>
                    <a:lnTo>
                      <a:pt x="289362" y="231249"/>
                    </a:lnTo>
                    <a:lnTo>
                      <a:pt x="287729" y="228003"/>
                    </a:lnTo>
                    <a:lnTo>
                      <a:pt x="212796" y="59746"/>
                    </a:lnTo>
                    <a:close/>
                  </a:path>
                  <a:path w="582295" h="582295">
                    <a:moveTo>
                      <a:pt x="411516" y="26826"/>
                    </a:moveTo>
                    <a:lnTo>
                      <a:pt x="290985" y="26826"/>
                    </a:lnTo>
                    <a:lnTo>
                      <a:pt x="313367" y="27804"/>
                    </a:lnTo>
                    <a:lnTo>
                      <a:pt x="335289" y="30688"/>
                    </a:lnTo>
                    <a:lnTo>
                      <a:pt x="356600" y="35400"/>
                    </a:lnTo>
                    <a:lnTo>
                      <a:pt x="377150" y="41862"/>
                    </a:lnTo>
                    <a:lnTo>
                      <a:pt x="294242" y="228003"/>
                    </a:lnTo>
                    <a:lnTo>
                      <a:pt x="292608" y="231249"/>
                    </a:lnTo>
                    <a:lnTo>
                      <a:pt x="340807" y="231249"/>
                    </a:lnTo>
                    <a:lnTo>
                      <a:pt x="417788" y="59746"/>
                    </a:lnTo>
                    <a:lnTo>
                      <a:pt x="467216" y="59746"/>
                    </a:lnTo>
                    <a:lnTo>
                      <a:pt x="462941" y="56080"/>
                    </a:lnTo>
                    <a:lnTo>
                      <a:pt x="424814" y="32438"/>
                    </a:lnTo>
                    <a:lnTo>
                      <a:pt x="411516" y="26826"/>
                    </a:lnTo>
                    <a:close/>
                  </a:path>
                </a:pathLst>
              </a:custGeom>
              <a:solidFill>
                <a:srgbClr val="1F2F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108" name="object 73"/>
              <p:cNvGrpSpPr/>
              <p:nvPr userDrawn="1"/>
            </p:nvGrpSpPr>
            <p:grpSpPr bwMode="auto">
              <a:xfrm>
                <a:off x="3252153" y="2976880"/>
                <a:ext cx="814387" cy="542925"/>
                <a:chOff x="9663221" y="6807394"/>
                <a:chExt cx="814705" cy="542925"/>
              </a:xfrm>
            </p:grpSpPr>
            <p:sp>
              <p:nvSpPr>
                <p:cNvPr id="109" name="object 74"/>
                <p:cNvSpPr>
                  <a:spLocks noChangeArrowheads="1"/>
                </p:cNvSpPr>
                <p:nvPr/>
              </p:nvSpPr>
              <p:spPr bwMode="auto">
                <a:xfrm>
                  <a:off x="9663221" y="6807394"/>
                  <a:ext cx="814705" cy="542925"/>
                </a:xfrm>
                <a:custGeom>
                  <a:avLst/>
                  <a:gdLst>
                    <a:gd name="T0" fmla="*/ 351965 w 814704"/>
                    <a:gd name="T1" fmla="*/ 2478 h 542925"/>
                    <a:gd name="T2" fmla="*/ 248713 w 814704"/>
                    <a:gd name="T3" fmla="*/ 21332 h 542925"/>
                    <a:gd name="T4" fmla="*/ 158380 w 814704"/>
                    <a:gd name="T5" fmla="*/ 56560 h 542925"/>
                    <a:gd name="T6" fmla="*/ 84849 w 814704"/>
                    <a:gd name="T7" fmla="*/ 105575 h 542925"/>
                    <a:gd name="T8" fmla="*/ 32001 w 814704"/>
                    <a:gd name="T9" fmla="*/ 165789 h 542925"/>
                    <a:gd name="T10" fmla="*/ 0 w 814704"/>
                    <a:gd name="T11" fmla="*/ 271447 h 542925"/>
                    <a:gd name="T12" fmla="*/ 32001 w 814704"/>
                    <a:gd name="T13" fmla="*/ 377110 h 542925"/>
                    <a:gd name="T14" fmla="*/ 84849 w 814704"/>
                    <a:gd name="T15" fmla="*/ 437327 h 542925"/>
                    <a:gd name="T16" fmla="*/ 158380 w 814704"/>
                    <a:gd name="T17" fmla="*/ 486343 h 542925"/>
                    <a:gd name="T18" fmla="*/ 248713 w 814704"/>
                    <a:gd name="T19" fmla="*/ 521572 h 542925"/>
                    <a:gd name="T20" fmla="*/ 351965 w 814704"/>
                    <a:gd name="T21" fmla="*/ 540426 h 542925"/>
                    <a:gd name="T22" fmla="*/ 462481 w 814704"/>
                    <a:gd name="T23" fmla="*/ 540426 h 542925"/>
                    <a:gd name="T24" fmla="*/ 565733 w 814704"/>
                    <a:gd name="T25" fmla="*/ 521572 h 542925"/>
                    <a:gd name="T26" fmla="*/ 407223 w 814704"/>
                    <a:gd name="T27" fmla="*/ 514392 h 542925"/>
                    <a:gd name="T28" fmla="*/ 307050 w 814704"/>
                    <a:gd name="T29" fmla="*/ 505743 h 542925"/>
                    <a:gd name="T30" fmla="*/ 215191 w 814704"/>
                    <a:gd name="T31" fmla="*/ 480519 h 542925"/>
                    <a:gd name="T32" fmla="*/ 135597 w 814704"/>
                    <a:gd name="T33" fmla="*/ 439808 h 542925"/>
                    <a:gd name="T34" fmla="*/ 56561 w 814704"/>
                    <a:gd name="T35" fmla="*/ 361992 h 542925"/>
                    <a:gd name="T36" fmla="*/ 29056 w 814704"/>
                    <a:gd name="T37" fmla="*/ 271447 h 542925"/>
                    <a:gd name="T38" fmla="*/ 56561 w 814704"/>
                    <a:gd name="T39" fmla="*/ 180910 h 542925"/>
                    <a:gd name="T40" fmla="*/ 135597 w 814704"/>
                    <a:gd name="T41" fmla="*/ 103096 h 542925"/>
                    <a:gd name="T42" fmla="*/ 215191 w 814704"/>
                    <a:gd name="T43" fmla="*/ 62385 h 542925"/>
                    <a:gd name="T44" fmla="*/ 307050 w 814704"/>
                    <a:gd name="T45" fmla="*/ 37161 h 542925"/>
                    <a:gd name="T46" fmla="*/ 407223 w 814704"/>
                    <a:gd name="T47" fmla="*/ 28512 h 542925"/>
                    <a:gd name="T48" fmla="*/ 565733 w 814704"/>
                    <a:gd name="T49" fmla="*/ 21332 h 542925"/>
                    <a:gd name="T50" fmla="*/ 462481 w 814704"/>
                    <a:gd name="T51" fmla="*/ 2478 h 542925"/>
                    <a:gd name="T52" fmla="*/ 587198 w 814704"/>
                    <a:gd name="T53" fmla="*/ 28512 h 542925"/>
                    <a:gd name="T54" fmla="*/ 458101 w 814704"/>
                    <a:gd name="T55" fmla="*/ 30697 h 542925"/>
                    <a:gd name="T56" fmla="*/ 554611 w 814704"/>
                    <a:gd name="T57" fmla="*/ 47769 h 542925"/>
                    <a:gd name="T58" fmla="*/ 640831 w 814704"/>
                    <a:gd name="T59" fmla="*/ 80872 h 542925"/>
                    <a:gd name="T60" fmla="*/ 724482 w 814704"/>
                    <a:gd name="T61" fmla="*/ 139896 h 542925"/>
                    <a:gd name="T62" fmla="*/ 778404 w 814704"/>
                    <a:gd name="T63" fmla="*/ 225105 h 542925"/>
                    <a:gd name="T64" fmla="*/ 778404 w 814704"/>
                    <a:gd name="T65" fmla="*/ 317795 h 542925"/>
                    <a:gd name="T66" fmla="*/ 724482 w 814704"/>
                    <a:gd name="T67" fmla="*/ 403007 h 542925"/>
                    <a:gd name="T68" fmla="*/ 640831 w 814704"/>
                    <a:gd name="T69" fmla="*/ 462032 h 542925"/>
                    <a:gd name="T70" fmla="*/ 554611 w 814704"/>
                    <a:gd name="T71" fmla="*/ 495135 h 542925"/>
                    <a:gd name="T72" fmla="*/ 458101 w 814704"/>
                    <a:gd name="T73" fmla="*/ 512207 h 542925"/>
                    <a:gd name="T74" fmla="*/ 587197 w 814704"/>
                    <a:gd name="T75" fmla="*/ 514392 h 542925"/>
                    <a:gd name="T76" fmla="*/ 695173 w 814704"/>
                    <a:gd name="T77" fmla="*/ 463396 h 542925"/>
                    <a:gd name="T78" fmla="*/ 758848 w 814704"/>
                    <a:gd name="T79" fmla="*/ 408457 h 542925"/>
                    <a:gd name="T80" fmla="*/ 810728 w 814704"/>
                    <a:gd name="T81" fmla="*/ 308282 h 542925"/>
                    <a:gd name="T82" fmla="*/ 810728 w 814704"/>
                    <a:gd name="T83" fmla="*/ 234614 h 542925"/>
                    <a:gd name="T84" fmla="*/ 758848 w 814704"/>
                    <a:gd name="T85" fmla="*/ 134444 h 542925"/>
                    <a:gd name="T86" fmla="*/ 695173 w 814704"/>
                    <a:gd name="T87" fmla="*/ 79506 h 542925"/>
                    <a:gd name="T88" fmla="*/ 612756 w 814704"/>
                    <a:gd name="T89" fmla="*/ 37061 h 542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14704" h="542925">
                      <a:moveTo>
                        <a:pt x="407223" y="0"/>
                      </a:moveTo>
                      <a:lnTo>
                        <a:pt x="351965" y="2478"/>
                      </a:lnTo>
                      <a:lnTo>
                        <a:pt x="298966" y="9696"/>
                      </a:lnTo>
                      <a:lnTo>
                        <a:pt x="248713" y="21332"/>
                      </a:lnTo>
                      <a:lnTo>
                        <a:pt x="201689" y="37061"/>
                      </a:lnTo>
                      <a:lnTo>
                        <a:pt x="158380" y="56560"/>
                      </a:lnTo>
                      <a:lnTo>
                        <a:pt x="119272" y="79506"/>
                      </a:lnTo>
                      <a:lnTo>
                        <a:pt x="84849" y="105575"/>
                      </a:lnTo>
                      <a:lnTo>
                        <a:pt x="55597" y="134444"/>
                      </a:lnTo>
                      <a:lnTo>
                        <a:pt x="32001" y="165789"/>
                      </a:lnTo>
                      <a:lnTo>
                        <a:pt x="3717" y="234614"/>
                      </a:lnTo>
                      <a:lnTo>
                        <a:pt x="0" y="271447"/>
                      </a:lnTo>
                      <a:lnTo>
                        <a:pt x="3717" y="308282"/>
                      </a:lnTo>
                      <a:lnTo>
                        <a:pt x="32001" y="377110"/>
                      </a:lnTo>
                      <a:lnTo>
                        <a:pt x="55597" y="408457"/>
                      </a:lnTo>
                      <a:lnTo>
                        <a:pt x="84849" y="437327"/>
                      </a:lnTo>
                      <a:lnTo>
                        <a:pt x="119272" y="463396"/>
                      </a:lnTo>
                      <a:lnTo>
                        <a:pt x="158380" y="486343"/>
                      </a:lnTo>
                      <a:lnTo>
                        <a:pt x="201689" y="505843"/>
                      </a:lnTo>
                      <a:lnTo>
                        <a:pt x="248713" y="521572"/>
                      </a:lnTo>
                      <a:lnTo>
                        <a:pt x="298966" y="533208"/>
                      </a:lnTo>
                      <a:lnTo>
                        <a:pt x="351965" y="540426"/>
                      </a:lnTo>
                      <a:lnTo>
                        <a:pt x="407223" y="542904"/>
                      </a:lnTo>
                      <a:lnTo>
                        <a:pt x="462481" y="540426"/>
                      </a:lnTo>
                      <a:lnTo>
                        <a:pt x="515479" y="533208"/>
                      </a:lnTo>
                      <a:lnTo>
                        <a:pt x="565733" y="521572"/>
                      </a:lnTo>
                      <a:lnTo>
                        <a:pt x="587197" y="514392"/>
                      </a:lnTo>
                      <a:lnTo>
                        <a:pt x="407223" y="514392"/>
                      </a:lnTo>
                      <a:lnTo>
                        <a:pt x="356344" y="512207"/>
                      </a:lnTo>
                      <a:lnTo>
                        <a:pt x="307050" y="505743"/>
                      </a:lnTo>
                      <a:lnTo>
                        <a:pt x="259835" y="495135"/>
                      </a:lnTo>
                      <a:lnTo>
                        <a:pt x="215191" y="480519"/>
                      </a:lnTo>
                      <a:lnTo>
                        <a:pt x="173614" y="462032"/>
                      </a:lnTo>
                      <a:lnTo>
                        <a:pt x="135597" y="439808"/>
                      </a:lnTo>
                      <a:lnTo>
                        <a:pt x="89963" y="403007"/>
                      </a:lnTo>
                      <a:lnTo>
                        <a:pt x="56561" y="361992"/>
                      </a:lnTo>
                      <a:lnTo>
                        <a:pt x="36041" y="317795"/>
                      </a:lnTo>
                      <a:lnTo>
                        <a:pt x="29056" y="271447"/>
                      </a:lnTo>
                      <a:lnTo>
                        <a:pt x="36041" y="225105"/>
                      </a:lnTo>
                      <a:lnTo>
                        <a:pt x="56561" y="180910"/>
                      </a:lnTo>
                      <a:lnTo>
                        <a:pt x="89963" y="139896"/>
                      </a:lnTo>
                      <a:lnTo>
                        <a:pt x="135597" y="103096"/>
                      </a:lnTo>
                      <a:lnTo>
                        <a:pt x="173614" y="80872"/>
                      </a:lnTo>
                      <a:lnTo>
                        <a:pt x="215191" y="62385"/>
                      </a:lnTo>
                      <a:lnTo>
                        <a:pt x="259835" y="47769"/>
                      </a:lnTo>
                      <a:lnTo>
                        <a:pt x="307050" y="37161"/>
                      </a:lnTo>
                      <a:lnTo>
                        <a:pt x="356344" y="30697"/>
                      </a:lnTo>
                      <a:lnTo>
                        <a:pt x="407223" y="28512"/>
                      </a:lnTo>
                      <a:lnTo>
                        <a:pt x="587198" y="28512"/>
                      </a:lnTo>
                      <a:lnTo>
                        <a:pt x="565733" y="21332"/>
                      </a:lnTo>
                      <a:lnTo>
                        <a:pt x="515479" y="9696"/>
                      </a:lnTo>
                      <a:lnTo>
                        <a:pt x="462481" y="2478"/>
                      </a:lnTo>
                      <a:lnTo>
                        <a:pt x="407223" y="0"/>
                      </a:lnTo>
                      <a:close/>
                    </a:path>
                    <a:path w="814704" h="542925">
                      <a:moveTo>
                        <a:pt x="587198" y="28512"/>
                      </a:moveTo>
                      <a:lnTo>
                        <a:pt x="407223" y="28512"/>
                      </a:lnTo>
                      <a:lnTo>
                        <a:pt x="458101" y="30697"/>
                      </a:lnTo>
                      <a:lnTo>
                        <a:pt x="507395" y="37161"/>
                      </a:lnTo>
                      <a:lnTo>
                        <a:pt x="554611" y="47769"/>
                      </a:lnTo>
                      <a:lnTo>
                        <a:pt x="599254" y="62385"/>
                      </a:lnTo>
                      <a:lnTo>
                        <a:pt x="640831" y="80872"/>
                      </a:lnTo>
                      <a:lnTo>
                        <a:pt x="678848" y="103096"/>
                      </a:lnTo>
                      <a:lnTo>
                        <a:pt x="724482" y="139896"/>
                      </a:lnTo>
                      <a:lnTo>
                        <a:pt x="757885" y="180910"/>
                      </a:lnTo>
                      <a:lnTo>
                        <a:pt x="778404" y="225105"/>
                      </a:lnTo>
                      <a:lnTo>
                        <a:pt x="785389" y="271447"/>
                      </a:lnTo>
                      <a:lnTo>
                        <a:pt x="778404" y="317795"/>
                      </a:lnTo>
                      <a:lnTo>
                        <a:pt x="757885" y="361992"/>
                      </a:lnTo>
                      <a:lnTo>
                        <a:pt x="724482" y="403007"/>
                      </a:lnTo>
                      <a:lnTo>
                        <a:pt x="678848" y="439808"/>
                      </a:lnTo>
                      <a:lnTo>
                        <a:pt x="640831" y="462032"/>
                      </a:lnTo>
                      <a:lnTo>
                        <a:pt x="599254" y="480519"/>
                      </a:lnTo>
                      <a:lnTo>
                        <a:pt x="554611" y="495135"/>
                      </a:lnTo>
                      <a:lnTo>
                        <a:pt x="507395" y="505743"/>
                      </a:lnTo>
                      <a:lnTo>
                        <a:pt x="458101" y="512207"/>
                      </a:lnTo>
                      <a:lnTo>
                        <a:pt x="407223" y="514392"/>
                      </a:lnTo>
                      <a:lnTo>
                        <a:pt x="587197" y="514392"/>
                      </a:lnTo>
                      <a:lnTo>
                        <a:pt x="656065" y="486343"/>
                      </a:lnTo>
                      <a:lnTo>
                        <a:pt x="695173" y="463396"/>
                      </a:lnTo>
                      <a:lnTo>
                        <a:pt x="729596" y="437327"/>
                      </a:lnTo>
                      <a:lnTo>
                        <a:pt x="758848" y="408457"/>
                      </a:lnTo>
                      <a:lnTo>
                        <a:pt x="782444" y="377110"/>
                      </a:lnTo>
                      <a:lnTo>
                        <a:pt x="810728" y="308282"/>
                      </a:lnTo>
                      <a:lnTo>
                        <a:pt x="814446" y="271447"/>
                      </a:lnTo>
                      <a:lnTo>
                        <a:pt x="810728" y="234614"/>
                      </a:lnTo>
                      <a:lnTo>
                        <a:pt x="782444" y="165789"/>
                      </a:lnTo>
                      <a:lnTo>
                        <a:pt x="758848" y="134444"/>
                      </a:lnTo>
                      <a:lnTo>
                        <a:pt x="729596" y="105575"/>
                      </a:lnTo>
                      <a:lnTo>
                        <a:pt x="695173" y="79506"/>
                      </a:lnTo>
                      <a:lnTo>
                        <a:pt x="656065" y="56560"/>
                      </a:lnTo>
                      <a:lnTo>
                        <a:pt x="612756" y="37061"/>
                      </a:lnTo>
                      <a:lnTo>
                        <a:pt x="587198" y="28512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10" name="object 75"/>
                <p:cNvPicPr>
                  <a:picLocks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24181" y="7130950"/>
                  <a:ext cx="178601" cy="710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1" name="object 76"/>
                <p:cNvSpPr>
                  <a:spLocks noChangeArrowheads="1"/>
                </p:cNvSpPr>
                <p:nvPr/>
              </p:nvSpPr>
              <p:spPr bwMode="auto">
                <a:xfrm>
                  <a:off x="9754171" y="6885209"/>
                  <a:ext cx="633095" cy="387350"/>
                </a:xfrm>
                <a:custGeom>
                  <a:avLst/>
                  <a:gdLst>
                    <a:gd name="T0" fmla="*/ 248602 w 633095"/>
                    <a:gd name="T1" fmla="*/ 180149 h 387350"/>
                    <a:gd name="T2" fmla="*/ 32524 w 633095"/>
                    <a:gd name="T3" fmla="*/ 180149 h 387350"/>
                    <a:gd name="T4" fmla="*/ 43903 w 633095"/>
                    <a:gd name="T5" fmla="*/ 207721 h 387350"/>
                    <a:gd name="T6" fmla="*/ 48602 w 633095"/>
                    <a:gd name="T7" fmla="*/ 215074 h 387350"/>
                    <a:gd name="T8" fmla="*/ 55219 w 633095"/>
                    <a:gd name="T9" fmla="*/ 220726 h 387350"/>
                    <a:gd name="T10" fmla="*/ 63207 w 633095"/>
                    <a:gd name="T11" fmla="*/ 224358 h 387350"/>
                    <a:gd name="T12" fmla="*/ 71945 w 633095"/>
                    <a:gd name="T13" fmla="*/ 225640 h 387350"/>
                    <a:gd name="T14" fmla="*/ 248602 w 633095"/>
                    <a:gd name="T15" fmla="*/ 225640 h 387350"/>
                    <a:gd name="T16" fmla="*/ 248602 w 633095"/>
                    <a:gd name="T17" fmla="*/ 180149 h 387350"/>
                    <a:gd name="T18" fmla="*/ 248602 w 633095"/>
                    <a:gd name="T19" fmla="*/ 100914 h 387350"/>
                    <a:gd name="T20" fmla="*/ 0 w 633095"/>
                    <a:gd name="T21" fmla="*/ 100914 h 387350"/>
                    <a:gd name="T22" fmla="*/ 11379 w 633095"/>
                    <a:gd name="T23" fmla="*/ 128473 h 387350"/>
                    <a:gd name="T24" fmla="*/ 16078 w 633095"/>
                    <a:gd name="T25" fmla="*/ 135839 h 387350"/>
                    <a:gd name="T26" fmla="*/ 22694 w 633095"/>
                    <a:gd name="T27" fmla="*/ 141490 h 387350"/>
                    <a:gd name="T28" fmla="*/ 30670 w 633095"/>
                    <a:gd name="T29" fmla="*/ 145135 h 387350"/>
                    <a:gd name="T30" fmla="*/ 39408 w 633095"/>
                    <a:gd name="T31" fmla="*/ 146418 h 387350"/>
                    <a:gd name="T32" fmla="*/ 248602 w 633095"/>
                    <a:gd name="T33" fmla="*/ 146418 h 387350"/>
                    <a:gd name="T34" fmla="*/ 248602 w 633095"/>
                    <a:gd name="T35" fmla="*/ 100914 h 387350"/>
                    <a:gd name="T36" fmla="*/ 383908 w 633095"/>
                    <a:gd name="T37" fmla="*/ 343484 h 387350"/>
                    <a:gd name="T38" fmla="*/ 353504 w 633095"/>
                    <a:gd name="T39" fmla="*/ 343484 h 387350"/>
                    <a:gd name="T40" fmla="*/ 348869 w 633095"/>
                    <a:gd name="T41" fmla="*/ 338924 h 387350"/>
                    <a:gd name="T42" fmla="*/ 348869 w 633095"/>
                    <a:gd name="T43" fmla="*/ 0 h 387350"/>
                    <a:gd name="T44" fmla="*/ 323748 w 633095"/>
                    <a:gd name="T45" fmla="*/ 0 h 387350"/>
                    <a:gd name="T46" fmla="*/ 262750 w 633095"/>
                    <a:gd name="T47" fmla="*/ 25336 h 387350"/>
                    <a:gd name="T48" fmla="*/ 254584 w 633095"/>
                    <a:gd name="T49" fmla="*/ 28219 h 387350"/>
                    <a:gd name="T50" fmla="*/ 254584 w 633095"/>
                    <a:gd name="T51" fmla="*/ 56146 h 387350"/>
                    <a:gd name="T52" fmla="*/ 279349 w 633095"/>
                    <a:gd name="T53" fmla="*/ 56146 h 387350"/>
                    <a:gd name="T54" fmla="*/ 283641 w 633095"/>
                    <a:gd name="T55" fmla="*/ 60350 h 387350"/>
                    <a:gd name="T56" fmla="*/ 283641 w 633095"/>
                    <a:gd name="T57" fmla="*/ 338924 h 387350"/>
                    <a:gd name="T58" fmla="*/ 279006 w 633095"/>
                    <a:gd name="T59" fmla="*/ 343484 h 387350"/>
                    <a:gd name="T60" fmla="*/ 248602 w 633095"/>
                    <a:gd name="T61" fmla="*/ 343484 h 387350"/>
                    <a:gd name="T62" fmla="*/ 248602 w 633095"/>
                    <a:gd name="T63" fmla="*/ 387286 h 387350"/>
                    <a:gd name="T64" fmla="*/ 383908 w 633095"/>
                    <a:gd name="T65" fmla="*/ 387286 h 387350"/>
                    <a:gd name="T66" fmla="*/ 383908 w 633095"/>
                    <a:gd name="T67" fmla="*/ 343484 h 387350"/>
                    <a:gd name="T68" fmla="*/ 599986 w 633095"/>
                    <a:gd name="T69" fmla="*/ 180149 h 387350"/>
                    <a:gd name="T70" fmla="*/ 383908 w 633095"/>
                    <a:gd name="T71" fmla="*/ 180149 h 387350"/>
                    <a:gd name="T72" fmla="*/ 383908 w 633095"/>
                    <a:gd name="T73" fmla="*/ 225640 h 387350"/>
                    <a:gd name="T74" fmla="*/ 560565 w 633095"/>
                    <a:gd name="T75" fmla="*/ 225640 h 387350"/>
                    <a:gd name="T76" fmla="*/ 569315 w 633095"/>
                    <a:gd name="T77" fmla="*/ 224358 h 387350"/>
                    <a:gd name="T78" fmla="*/ 577291 w 633095"/>
                    <a:gd name="T79" fmla="*/ 220726 h 387350"/>
                    <a:gd name="T80" fmla="*/ 583920 w 633095"/>
                    <a:gd name="T81" fmla="*/ 215074 h 387350"/>
                    <a:gd name="T82" fmla="*/ 588619 w 633095"/>
                    <a:gd name="T83" fmla="*/ 207721 h 387350"/>
                    <a:gd name="T84" fmla="*/ 599986 w 633095"/>
                    <a:gd name="T85" fmla="*/ 180149 h 387350"/>
                    <a:gd name="T86" fmla="*/ 632548 w 633095"/>
                    <a:gd name="T87" fmla="*/ 100926 h 387350"/>
                    <a:gd name="T88" fmla="*/ 436905 w 633095"/>
                    <a:gd name="T89" fmla="*/ 100926 h 387350"/>
                    <a:gd name="T90" fmla="*/ 436905 w 633095"/>
                    <a:gd name="T91" fmla="*/ 88277 h 387350"/>
                    <a:gd name="T92" fmla="*/ 383946 w 633095"/>
                    <a:gd name="T93" fmla="*/ 88277 h 387350"/>
                    <a:gd name="T94" fmla="*/ 383921 w 633095"/>
                    <a:gd name="T95" fmla="*/ 146418 h 387350"/>
                    <a:gd name="T96" fmla="*/ 593128 w 633095"/>
                    <a:gd name="T97" fmla="*/ 146418 h 387350"/>
                    <a:gd name="T98" fmla="*/ 601865 w 633095"/>
                    <a:gd name="T99" fmla="*/ 145135 h 387350"/>
                    <a:gd name="T100" fmla="*/ 609841 w 633095"/>
                    <a:gd name="T101" fmla="*/ 141503 h 387350"/>
                    <a:gd name="T102" fmla="*/ 616470 w 633095"/>
                    <a:gd name="T103" fmla="*/ 135839 h 387350"/>
                    <a:gd name="T104" fmla="*/ 621169 w 633095"/>
                    <a:gd name="T105" fmla="*/ 128485 h 387350"/>
                    <a:gd name="T106" fmla="*/ 632548 w 633095"/>
                    <a:gd name="T107" fmla="*/ 100926 h 387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3095" h="387350">
                      <a:moveTo>
                        <a:pt x="248602" y="180149"/>
                      </a:moveTo>
                      <a:lnTo>
                        <a:pt x="32524" y="180149"/>
                      </a:lnTo>
                      <a:lnTo>
                        <a:pt x="43903" y="207721"/>
                      </a:lnTo>
                      <a:lnTo>
                        <a:pt x="48602" y="215074"/>
                      </a:lnTo>
                      <a:lnTo>
                        <a:pt x="55219" y="220726"/>
                      </a:lnTo>
                      <a:lnTo>
                        <a:pt x="63207" y="224358"/>
                      </a:lnTo>
                      <a:lnTo>
                        <a:pt x="71945" y="225640"/>
                      </a:lnTo>
                      <a:lnTo>
                        <a:pt x="248602" y="225640"/>
                      </a:lnTo>
                      <a:lnTo>
                        <a:pt x="248602" y="180149"/>
                      </a:lnTo>
                      <a:close/>
                    </a:path>
                    <a:path w="633095" h="387350">
                      <a:moveTo>
                        <a:pt x="248602" y="100914"/>
                      </a:moveTo>
                      <a:lnTo>
                        <a:pt x="0" y="100914"/>
                      </a:lnTo>
                      <a:lnTo>
                        <a:pt x="11379" y="128473"/>
                      </a:lnTo>
                      <a:lnTo>
                        <a:pt x="16078" y="135839"/>
                      </a:lnTo>
                      <a:lnTo>
                        <a:pt x="22694" y="141490"/>
                      </a:lnTo>
                      <a:lnTo>
                        <a:pt x="30670" y="145135"/>
                      </a:lnTo>
                      <a:lnTo>
                        <a:pt x="39408" y="146418"/>
                      </a:lnTo>
                      <a:lnTo>
                        <a:pt x="248602" y="146418"/>
                      </a:lnTo>
                      <a:lnTo>
                        <a:pt x="248602" y="100914"/>
                      </a:lnTo>
                      <a:close/>
                    </a:path>
                    <a:path w="633095" h="387350">
                      <a:moveTo>
                        <a:pt x="383908" y="343484"/>
                      </a:moveTo>
                      <a:lnTo>
                        <a:pt x="353504" y="343484"/>
                      </a:lnTo>
                      <a:lnTo>
                        <a:pt x="348869" y="338924"/>
                      </a:lnTo>
                      <a:lnTo>
                        <a:pt x="348869" y="0"/>
                      </a:lnTo>
                      <a:lnTo>
                        <a:pt x="323748" y="0"/>
                      </a:lnTo>
                      <a:lnTo>
                        <a:pt x="262750" y="25336"/>
                      </a:lnTo>
                      <a:lnTo>
                        <a:pt x="254584" y="28219"/>
                      </a:lnTo>
                      <a:lnTo>
                        <a:pt x="254584" y="56146"/>
                      </a:lnTo>
                      <a:lnTo>
                        <a:pt x="279349" y="56146"/>
                      </a:lnTo>
                      <a:lnTo>
                        <a:pt x="283641" y="60350"/>
                      </a:lnTo>
                      <a:lnTo>
                        <a:pt x="283641" y="338924"/>
                      </a:lnTo>
                      <a:lnTo>
                        <a:pt x="279006" y="343484"/>
                      </a:lnTo>
                      <a:lnTo>
                        <a:pt x="248602" y="343484"/>
                      </a:lnTo>
                      <a:lnTo>
                        <a:pt x="248602" y="387286"/>
                      </a:lnTo>
                      <a:lnTo>
                        <a:pt x="383908" y="387286"/>
                      </a:lnTo>
                      <a:lnTo>
                        <a:pt x="383908" y="343484"/>
                      </a:lnTo>
                      <a:close/>
                    </a:path>
                    <a:path w="633095" h="387350">
                      <a:moveTo>
                        <a:pt x="599986" y="180149"/>
                      </a:moveTo>
                      <a:lnTo>
                        <a:pt x="383908" y="180149"/>
                      </a:lnTo>
                      <a:lnTo>
                        <a:pt x="383908" y="225640"/>
                      </a:lnTo>
                      <a:lnTo>
                        <a:pt x="560565" y="225640"/>
                      </a:lnTo>
                      <a:lnTo>
                        <a:pt x="569315" y="224358"/>
                      </a:lnTo>
                      <a:lnTo>
                        <a:pt x="577291" y="220726"/>
                      </a:lnTo>
                      <a:lnTo>
                        <a:pt x="583920" y="215074"/>
                      </a:lnTo>
                      <a:lnTo>
                        <a:pt x="588619" y="207721"/>
                      </a:lnTo>
                      <a:lnTo>
                        <a:pt x="599986" y="180149"/>
                      </a:lnTo>
                      <a:close/>
                    </a:path>
                    <a:path w="633095" h="387350">
                      <a:moveTo>
                        <a:pt x="632548" y="100926"/>
                      </a:moveTo>
                      <a:lnTo>
                        <a:pt x="436905" y="100926"/>
                      </a:lnTo>
                      <a:lnTo>
                        <a:pt x="436905" y="88277"/>
                      </a:lnTo>
                      <a:lnTo>
                        <a:pt x="383946" y="88277"/>
                      </a:lnTo>
                      <a:lnTo>
                        <a:pt x="383921" y="146418"/>
                      </a:lnTo>
                      <a:lnTo>
                        <a:pt x="593128" y="146418"/>
                      </a:lnTo>
                      <a:lnTo>
                        <a:pt x="601865" y="145135"/>
                      </a:lnTo>
                      <a:lnTo>
                        <a:pt x="609841" y="141503"/>
                      </a:lnTo>
                      <a:lnTo>
                        <a:pt x="616470" y="135839"/>
                      </a:lnTo>
                      <a:lnTo>
                        <a:pt x="621169" y="128485"/>
                      </a:lnTo>
                      <a:lnTo>
                        <a:pt x="632548" y="100926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12" name="object 77"/>
                <p:cNvPicPr>
                  <a:picLocks noChangeArrowheads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38100" y="7134680"/>
                  <a:ext cx="178633" cy="6731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57" name="组合 56"/>
            <p:cNvGrpSpPr/>
            <p:nvPr userDrawn="1"/>
          </p:nvGrpSpPr>
          <p:grpSpPr>
            <a:xfrm>
              <a:off x="8416113" y="2195514"/>
              <a:ext cx="972114" cy="930216"/>
              <a:chOff x="8697913" y="3270250"/>
              <a:chExt cx="5510212" cy="5272723"/>
            </a:xfrm>
          </p:grpSpPr>
          <p:sp>
            <p:nvSpPr>
              <p:cNvPr id="58" name="object 2"/>
              <p:cNvSpPr>
                <a:spLocks noChangeArrowheads="1"/>
              </p:cNvSpPr>
              <p:nvPr userDrawn="1"/>
            </p:nvSpPr>
            <p:spPr bwMode="auto">
              <a:xfrm>
                <a:off x="10174288" y="4516438"/>
                <a:ext cx="271462" cy="287337"/>
              </a:xfrm>
              <a:custGeom>
                <a:avLst/>
                <a:gdLst>
                  <a:gd name="T0" fmla="*/ 133074 w 271145"/>
                  <a:gd name="T1" fmla="*/ 0 h 287020"/>
                  <a:gd name="T2" fmla="*/ 80102 w 271145"/>
                  <a:gd name="T3" fmla="*/ 10250 h 287020"/>
                  <a:gd name="T4" fmla="*/ 36616 w 271145"/>
                  <a:gd name="T5" fmla="*/ 40951 h 287020"/>
                  <a:gd name="T6" fmla="*/ 8063 w 271145"/>
                  <a:gd name="T7" fmla="*/ 86638 h 287020"/>
                  <a:gd name="T8" fmla="*/ 0 w 271145"/>
                  <a:gd name="T9" fmla="*/ 141733 h 287020"/>
                  <a:gd name="T10" fmla="*/ 0 w 271145"/>
                  <a:gd name="T11" fmla="*/ 148037 h 287020"/>
                  <a:gd name="T12" fmla="*/ 8398 w 271145"/>
                  <a:gd name="T13" fmla="*/ 200813 h 287020"/>
                  <a:gd name="T14" fmla="*/ 37286 w 271145"/>
                  <a:gd name="T15" fmla="*/ 245688 h 287020"/>
                  <a:gd name="T16" fmla="*/ 81354 w 271145"/>
                  <a:gd name="T17" fmla="*/ 276409 h 287020"/>
                  <a:gd name="T18" fmla="*/ 134917 w 271145"/>
                  <a:gd name="T19" fmla="*/ 286640 h 287020"/>
                  <a:gd name="T20" fmla="*/ 163142 w 271145"/>
                  <a:gd name="T21" fmla="*/ 284083 h 287020"/>
                  <a:gd name="T22" fmla="*/ 211363 w 271145"/>
                  <a:gd name="T23" fmla="*/ 263612 h 287020"/>
                  <a:gd name="T24" fmla="*/ 250011 w 271145"/>
                  <a:gd name="T25" fmla="*/ 224243 h 287020"/>
                  <a:gd name="T26" fmla="*/ 268661 w 271145"/>
                  <a:gd name="T27" fmla="*/ 175407 h 287020"/>
                  <a:gd name="T28" fmla="*/ 270808 w 271145"/>
                  <a:gd name="T29" fmla="*/ 148037 h 287020"/>
                  <a:gd name="T30" fmla="*/ 270808 w 271145"/>
                  <a:gd name="T31" fmla="*/ 141733 h 287020"/>
                  <a:gd name="T32" fmla="*/ 261892 w 271145"/>
                  <a:gd name="T33" fmla="*/ 86638 h 287020"/>
                  <a:gd name="T34" fmla="*/ 232526 w 271145"/>
                  <a:gd name="T35" fmla="*/ 40951 h 287020"/>
                  <a:gd name="T36" fmla="*/ 187512 w 271145"/>
                  <a:gd name="T37" fmla="*/ 10250 h 287020"/>
                  <a:gd name="T38" fmla="*/ 133074 w 271145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1145" h="287020">
                    <a:moveTo>
                      <a:pt x="133074" y="0"/>
                    </a:moveTo>
                    <a:lnTo>
                      <a:pt x="80102" y="10250"/>
                    </a:lnTo>
                    <a:lnTo>
                      <a:pt x="36616" y="40951"/>
                    </a:lnTo>
                    <a:lnTo>
                      <a:pt x="8063" y="86638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8398" y="200813"/>
                    </a:lnTo>
                    <a:lnTo>
                      <a:pt x="37286" y="245688"/>
                    </a:lnTo>
                    <a:lnTo>
                      <a:pt x="81354" y="276409"/>
                    </a:lnTo>
                    <a:lnTo>
                      <a:pt x="134917" y="286640"/>
                    </a:lnTo>
                    <a:lnTo>
                      <a:pt x="163142" y="284083"/>
                    </a:lnTo>
                    <a:lnTo>
                      <a:pt x="211363" y="263612"/>
                    </a:lnTo>
                    <a:lnTo>
                      <a:pt x="250011" y="224243"/>
                    </a:lnTo>
                    <a:lnTo>
                      <a:pt x="268661" y="175407"/>
                    </a:lnTo>
                    <a:lnTo>
                      <a:pt x="270808" y="148037"/>
                    </a:lnTo>
                    <a:lnTo>
                      <a:pt x="270808" y="141733"/>
                    </a:lnTo>
                    <a:lnTo>
                      <a:pt x="261892" y="86638"/>
                    </a:lnTo>
                    <a:lnTo>
                      <a:pt x="232526" y="40951"/>
                    </a:lnTo>
                    <a:lnTo>
                      <a:pt x="187512" y="10250"/>
                    </a:lnTo>
                    <a:lnTo>
                      <a:pt x="133074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9" name="object 3"/>
              <p:cNvSpPr>
                <a:spLocks noChangeArrowheads="1"/>
              </p:cNvSpPr>
              <p:nvPr userDrawn="1"/>
            </p:nvSpPr>
            <p:spPr bwMode="auto">
              <a:xfrm>
                <a:off x="9099550" y="4516438"/>
                <a:ext cx="287338" cy="287337"/>
              </a:xfrm>
              <a:custGeom>
                <a:avLst/>
                <a:gdLst>
                  <a:gd name="T0" fmla="*/ 143231 w 287654"/>
                  <a:gd name="T1" fmla="*/ 0 h 287020"/>
                  <a:gd name="T2" fmla="*/ 87502 w 287654"/>
                  <a:gd name="T3" fmla="*/ 10250 h 287020"/>
                  <a:gd name="T4" fmla="*/ 41339 w 287654"/>
                  <a:gd name="T5" fmla="*/ 40951 h 287020"/>
                  <a:gd name="T6" fmla="*/ 10315 w 287654"/>
                  <a:gd name="T7" fmla="*/ 86634 h 287020"/>
                  <a:gd name="T8" fmla="*/ 0 w 287654"/>
                  <a:gd name="T9" fmla="*/ 141733 h 287020"/>
                  <a:gd name="T10" fmla="*/ 0 w 287654"/>
                  <a:gd name="T11" fmla="*/ 148037 h 287020"/>
                  <a:gd name="T12" fmla="*/ 10315 w 287654"/>
                  <a:gd name="T13" fmla="*/ 200809 h 287020"/>
                  <a:gd name="T14" fmla="*/ 41339 w 287654"/>
                  <a:gd name="T15" fmla="*/ 245688 h 287020"/>
                  <a:gd name="T16" fmla="*/ 87513 w 287654"/>
                  <a:gd name="T17" fmla="*/ 276409 h 287020"/>
                  <a:gd name="T18" fmla="*/ 143252 w 287654"/>
                  <a:gd name="T19" fmla="*/ 286640 h 287020"/>
                  <a:gd name="T20" fmla="*/ 171199 w 287654"/>
                  <a:gd name="T21" fmla="*/ 284083 h 287020"/>
                  <a:gd name="T22" fmla="*/ 221874 w 287654"/>
                  <a:gd name="T23" fmla="*/ 263612 h 287020"/>
                  <a:gd name="T24" fmla="*/ 262293 w 287654"/>
                  <a:gd name="T25" fmla="*/ 224239 h 287020"/>
                  <a:gd name="T26" fmla="*/ 284327 w 287654"/>
                  <a:gd name="T27" fmla="*/ 175406 h 287020"/>
                  <a:gd name="T28" fmla="*/ 287216 w 287654"/>
                  <a:gd name="T29" fmla="*/ 148037 h 287020"/>
                  <a:gd name="T30" fmla="*/ 287216 w 287654"/>
                  <a:gd name="T31" fmla="*/ 141733 h 287020"/>
                  <a:gd name="T32" fmla="*/ 275894 w 287654"/>
                  <a:gd name="T33" fmla="*/ 86634 h 287020"/>
                  <a:gd name="T34" fmla="*/ 243856 w 287654"/>
                  <a:gd name="T35" fmla="*/ 40951 h 287020"/>
                  <a:gd name="T36" fmla="*/ 197513 w 287654"/>
                  <a:gd name="T37" fmla="*/ 10250 h 287020"/>
                  <a:gd name="T38" fmla="*/ 143231 w 287654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7654" h="287020">
                    <a:moveTo>
                      <a:pt x="143231" y="0"/>
                    </a:moveTo>
                    <a:lnTo>
                      <a:pt x="87502" y="10250"/>
                    </a:lnTo>
                    <a:lnTo>
                      <a:pt x="41339" y="40951"/>
                    </a:lnTo>
                    <a:lnTo>
                      <a:pt x="10315" y="86634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10315" y="200809"/>
                    </a:lnTo>
                    <a:lnTo>
                      <a:pt x="41339" y="245688"/>
                    </a:lnTo>
                    <a:lnTo>
                      <a:pt x="87513" y="276409"/>
                    </a:lnTo>
                    <a:lnTo>
                      <a:pt x="143252" y="286640"/>
                    </a:lnTo>
                    <a:lnTo>
                      <a:pt x="171199" y="284083"/>
                    </a:lnTo>
                    <a:lnTo>
                      <a:pt x="221874" y="263612"/>
                    </a:lnTo>
                    <a:lnTo>
                      <a:pt x="262293" y="224239"/>
                    </a:lnTo>
                    <a:lnTo>
                      <a:pt x="284327" y="175406"/>
                    </a:lnTo>
                    <a:lnTo>
                      <a:pt x="287216" y="148037"/>
                    </a:lnTo>
                    <a:lnTo>
                      <a:pt x="287216" y="141733"/>
                    </a:lnTo>
                    <a:lnTo>
                      <a:pt x="275894" y="86634"/>
                    </a:lnTo>
                    <a:lnTo>
                      <a:pt x="243856" y="40951"/>
                    </a:lnTo>
                    <a:lnTo>
                      <a:pt x="197513" y="10250"/>
                    </a:lnTo>
                    <a:lnTo>
                      <a:pt x="143231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0" name="object 4"/>
              <p:cNvSpPr>
                <a:spLocks noChangeArrowheads="1"/>
              </p:cNvSpPr>
              <p:nvPr userDrawn="1"/>
            </p:nvSpPr>
            <p:spPr bwMode="auto">
              <a:xfrm>
                <a:off x="9077325" y="4926013"/>
                <a:ext cx="1887538" cy="1328737"/>
              </a:xfrm>
              <a:custGeom>
                <a:avLst/>
                <a:gdLst>
                  <a:gd name="T0" fmla="*/ 242340 w 1887854"/>
                  <a:gd name="T1" fmla="*/ 1448 h 1329689"/>
                  <a:gd name="T2" fmla="*/ 138409 w 1887854"/>
                  <a:gd name="T3" fmla="*/ 95040 h 1329689"/>
                  <a:gd name="T4" fmla="*/ 158085 w 1887854"/>
                  <a:gd name="T5" fmla="*/ 193460 h 1329689"/>
                  <a:gd name="T6" fmla="*/ 268243 w 1887854"/>
                  <a:gd name="T7" fmla="*/ 254390 h 1329689"/>
                  <a:gd name="T8" fmla="*/ 810027 w 1887854"/>
                  <a:gd name="T9" fmla="*/ 286421 h 1329689"/>
                  <a:gd name="T10" fmla="*/ 809397 w 1887854"/>
                  <a:gd name="T11" fmla="*/ 322637 h 1329689"/>
                  <a:gd name="T12" fmla="*/ 784803 w 1887854"/>
                  <a:gd name="T13" fmla="*/ 336450 h 1329689"/>
                  <a:gd name="T14" fmla="*/ 306126 w 1887854"/>
                  <a:gd name="T15" fmla="*/ 359663 h 1329689"/>
                  <a:gd name="T16" fmla="*/ 246201 w 1887854"/>
                  <a:gd name="T17" fmla="*/ 469064 h 1329689"/>
                  <a:gd name="T18" fmla="*/ 306126 w 1887854"/>
                  <a:gd name="T19" fmla="*/ 577896 h 1329689"/>
                  <a:gd name="T20" fmla="*/ 772206 w 1887854"/>
                  <a:gd name="T21" fmla="*/ 599060 h 1329689"/>
                  <a:gd name="T22" fmla="*/ 810456 w 1887854"/>
                  <a:gd name="T23" fmla="*/ 646598 h 1329689"/>
                  <a:gd name="T24" fmla="*/ 805495 w 1887854"/>
                  <a:gd name="T25" fmla="*/ 683723 h 1329689"/>
                  <a:gd name="T26" fmla="*/ 129137 w 1887854"/>
                  <a:gd name="T27" fmla="*/ 689329 h 1329689"/>
                  <a:gd name="T28" fmla="*/ 21260 w 1887854"/>
                  <a:gd name="T29" fmla="*/ 749646 h 1329689"/>
                  <a:gd name="T30" fmla="*/ 2362 w 1887854"/>
                  <a:gd name="T31" fmla="*/ 850648 h 1329689"/>
                  <a:gd name="T32" fmla="*/ 103336 w 1887854"/>
                  <a:gd name="T33" fmla="*/ 949740 h 1329689"/>
                  <a:gd name="T34" fmla="*/ 779522 w 1887854"/>
                  <a:gd name="T35" fmla="*/ 953076 h 1329689"/>
                  <a:gd name="T36" fmla="*/ 810456 w 1887854"/>
                  <a:gd name="T37" fmla="*/ 1005686 h 1329689"/>
                  <a:gd name="T38" fmla="*/ 524356 w 1887854"/>
                  <a:gd name="T39" fmla="*/ 1045594 h 1329689"/>
                  <a:gd name="T40" fmla="*/ 415687 w 1887854"/>
                  <a:gd name="T41" fmla="*/ 1161054 h 1329689"/>
                  <a:gd name="T42" fmla="*/ 436156 w 1887854"/>
                  <a:gd name="T43" fmla="*/ 1267476 h 1329689"/>
                  <a:gd name="T44" fmla="*/ 551721 w 1887854"/>
                  <a:gd name="T45" fmla="*/ 1329425 h 1329689"/>
                  <a:gd name="T46" fmla="*/ 923395 w 1887854"/>
                  <a:gd name="T47" fmla="*/ 1309289 h 1329689"/>
                  <a:gd name="T48" fmla="*/ 1046496 w 1887854"/>
                  <a:gd name="T49" fmla="*/ 1209310 h 1329689"/>
                  <a:gd name="T50" fmla="*/ 1097673 w 1887854"/>
                  <a:gd name="T51" fmla="*/ 1052931 h 1329689"/>
                  <a:gd name="T52" fmla="*/ 1123262 w 1887854"/>
                  <a:gd name="T53" fmla="*/ 956309 h 1329689"/>
                  <a:gd name="T54" fmla="*/ 1779135 w 1887854"/>
                  <a:gd name="T55" fmla="*/ 949828 h 1329689"/>
                  <a:gd name="T56" fmla="*/ 1884859 w 1887854"/>
                  <a:gd name="T57" fmla="*/ 850983 h 1329689"/>
                  <a:gd name="T58" fmla="*/ 1865158 w 1887854"/>
                  <a:gd name="T59" fmla="*/ 749337 h 1329689"/>
                  <a:gd name="T60" fmla="*/ 1751873 w 1887854"/>
                  <a:gd name="T61" fmla="*/ 689329 h 1329689"/>
                  <a:gd name="T62" fmla="*/ 1100169 w 1887854"/>
                  <a:gd name="T63" fmla="*/ 663191 h 1329689"/>
                  <a:gd name="T64" fmla="*/ 1098985 w 1887854"/>
                  <a:gd name="T65" fmla="*/ 619698 h 1329689"/>
                  <a:gd name="T66" fmla="*/ 1124981 w 1887854"/>
                  <a:gd name="T67" fmla="*/ 599060 h 1329689"/>
                  <a:gd name="T68" fmla="*/ 1603643 w 1887854"/>
                  <a:gd name="T69" fmla="*/ 578382 h 1329689"/>
                  <a:gd name="T70" fmla="*/ 1663603 w 1887854"/>
                  <a:gd name="T71" fmla="*/ 469357 h 1329689"/>
                  <a:gd name="T72" fmla="*/ 1603643 w 1887854"/>
                  <a:gd name="T73" fmla="*/ 359297 h 1329689"/>
                  <a:gd name="T74" fmla="*/ 1137577 w 1887854"/>
                  <a:gd name="T75" fmla="*/ 336450 h 1329689"/>
                  <a:gd name="T76" fmla="*/ 1097673 w 1887854"/>
                  <a:gd name="T77" fmla="*/ 293823 h 1329689"/>
                  <a:gd name="T78" fmla="*/ 1103446 w 1887854"/>
                  <a:gd name="T79" fmla="*/ 259947 h 1329689"/>
                  <a:gd name="T80" fmla="*/ 1641552 w 1887854"/>
                  <a:gd name="T81" fmla="*/ 254390 h 1329689"/>
                  <a:gd name="T82" fmla="*/ 1751692 w 1887854"/>
                  <a:gd name="T83" fmla="*/ 191953 h 1329689"/>
                  <a:gd name="T84" fmla="*/ 1771379 w 1887854"/>
                  <a:gd name="T85" fmla="*/ 93647 h 1329689"/>
                  <a:gd name="T86" fmla="*/ 1667429 w 1887854"/>
                  <a:gd name="T87" fmla="*/ 1538 h 1329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87854" h="1329689">
                    <a:moveTo>
                      <a:pt x="1641552" y="0"/>
                    </a:moveTo>
                    <a:lnTo>
                      <a:pt x="268243" y="0"/>
                    </a:lnTo>
                    <a:lnTo>
                      <a:pt x="242340" y="1448"/>
                    </a:lnTo>
                    <a:lnTo>
                      <a:pt x="195884" y="16326"/>
                    </a:lnTo>
                    <a:lnTo>
                      <a:pt x="158085" y="51373"/>
                    </a:lnTo>
                    <a:lnTo>
                      <a:pt x="138409" y="95040"/>
                    </a:lnTo>
                    <a:lnTo>
                      <a:pt x="135953" y="120362"/>
                    </a:lnTo>
                    <a:lnTo>
                      <a:pt x="138409" y="146405"/>
                    </a:lnTo>
                    <a:lnTo>
                      <a:pt x="158085" y="193460"/>
                    </a:lnTo>
                    <a:lnTo>
                      <a:pt x="195884" y="231525"/>
                    </a:lnTo>
                    <a:lnTo>
                      <a:pt x="242340" y="251797"/>
                    </a:lnTo>
                    <a:lnTo>
                      <a:pt x="268243" y="254390"/>
                    </a:lnTo>
                    <a:lnTo>
                      <a:pt x="772206" y="254390"/>
                    </a:lnTo>
                    <a:lnTo>
                      <a:pt x="779522" y="254912"/>
                    </a:lnTo>
                    <a:lnTo>
                      <a:pt x="810027" y="286421"/>
                    </a:lnTo>
                    <a:lnTo>
                      <a:pt x="810456" y="293823"/>
                    </a:lnTo>
                    <a:lnTo>
                      <a:pt x="810456" y="309571"/>
                    </a:lnTo>
                    <a:lnTo>
                      <a:pt x="809397" y="322637"/>
                    </a:lnTo>
                    <a:lnTo>
                      <a:pt x="805495" y="330891"/>
                    </a:lnTo>
                    <a:lnTo>
                      <a:pt x="797659" y="335205"/>
                    </a:lnTo>
                    <a:lnTo>
                      <a:pt x="784803" y="336450"/>
                    </a:lnTo>
                    <a:lnTo>
                      <a:pt x="378491" y="336450"/>
                    </a:lnTo>
                    <a:lnTo>
                      <a:pt x="352584" y="339174"/>
                    </a:lnTo>
                    <a:lnTo>
                      <a:pt x="306126" y="359663"/>
                    </a:lnTo>
                    <a:lnTo>
                      <a:pt x="268324" y="396629"/>
                    </a:lnTo>
                    <a:lnTo>
                      <a:pt x="248656" y="443103"/>
                    </a:lnTo>
                    <a:lnTo>
                      <a:pt x="246201" y="469064"/>
                    </a:lnTo>
                    <a:lnTo>
                      <a:pt x="248656" y="494786"/>
                    </a:lnTo>
                    <a:lnTo>
                      <a:pt x="268324" y="540455"/>
                    </a:lnTo>
                    <a:lnTo>
                      <a:pt x="306126" y="577896"/>
                    </a:lnTo>
                    <a:lnTo>
                      <a:pt x="352584" y="596783"/>
                    </a:lnTo>
                    <a:lnTo>
                      <a:pt x="378491" y="599060"/>
                    </a:lnTo>
                    <a:lnTo>
                      <a:pt x="772206" y="599060"/>
                    </a:lnTo>
                    <a:lnTo>
                      <a:pt x="779522" y="600215"/>
                    </a:lnTo>
                    <a:lnTo>
                      <a:pt x="808374" y="630391"/>
                    </a:lnTo>
                    <a:lnTo>
                      <a:pt x="810456" y="646598"/>
                    </a:lnTo>
                    <a:lnTo>
                      <a:pt x="810456" y="662356"/>
                    </a:lnTo>
                    <a:lnTo>
                      <a:pt x="809397" y="675437"/>
                    </a:lnTo>
                    <a:lnTo>
                      <a:pt x="805495" y="683723"/>
                    </a:lnTo>
                    <a:lnTo>
                      <a:pt x="797659" y="688070"/>
                    </a:lnTo>
                    <a:lnTo>
                      <a:pt x="784803" y="689329"/>
                    </a:lnTo>
                    <a:lnTo>
                      <a:pt x="129137" y="689329"/>
                    </a:lnTo>
                    <a:lnTo>
                      <a:pt x="103336" y="692045"/>
                    </a:lnTo>
                    <a:lnTo>
                      <a:pt x="57675" y="712499"/>
                    </a:lnTo>
                    <a:lnTo>
                      <a:pt x="21260" y="749646"/>
                    </a:lnTo>
                    <a:lnTo>
                      <a:pt x="2362" y="797675"/>
                    </a:lnTo>
                    <a:lnTo>
                      <a:pt x="0" y="825021"/>
                    </a:lnTo>
                    <a:lnTo>
                      <a:pt x="2362" y="850648"/>
                    </a:lnTo>
                    <a:lnTo>
                      <a:pt x="21260" y="895542"/>
                    </a:lnTo>
                    <a:lnTo>
                      <a:pt x="57675" y="931609"/>
                    </a:lnTo>
                    <a:lnTo>
                      <a:pt x="103336" y="949740"/>
                    </a:lnTo>
                    <a:lnTo>
                      <a:pt x="129137" y="951929"/>
                    </a:lnTo>
                    <a:lnTo>
                      <a:pt x="772206" y="951929"/>
                    </a:lnTo>
                    <a:lnTo>
                      <a:pt x="779522" y="953076"/>
                    </a:lnTo>
                    <a:lnTo>
                      <a:pt x="808374" y="983976"/>
                    </a:lnTo>
                    <a:lnTo>
                      <a:pt x="810456" y="1002534"/>
                    </a:lnTo>
                    <a:lnTo>
                      <a:pt x="810456" y="1005686"/>
                    </a:lnTo>
                    <a:lnTo>
                      <a:pt x="786096" y="1041341"/>
                    </a:lnTo>
                    <a:lnTo>
                      <a:pt x="551721" y="1042198"/>
                    </a:lnTo>
                    <a:lnTo>
                      <a:pt x="524356" y="1045594"/>
                    </a:lnTo>
                    <a:lnTo>
                      <a:pt x="475521" y="1069758"/>
                    </a:lnTo>
                    <a:lnTo>
                      <a:pt x="436156" y="1110379"/>
                    </a:lnTo>
                    <a:lnTo>
                      <a:pt x="415687" y="1161054"/>
                    </a:lnTo>
                    <a:lnTo>
                      <a:pt x="413128" y="1188843"/>
                    </a:lnTo>
                    <a:lnTo>
                      <a:pt x="415687" y="1217473"/>
                    </a:lnTo>
                    <a:lnTo>
                      <a:pt x="436156" y="1267476"/>
                    </a:lnTo>
                    <a:lnTo>
                      <a:pt x="475521" y="1306861"/>
                    </a:lnTo>
                    <a:lnTo>
                      <a:pt x="524356" y="1326951"/>
                    </a:lnTo>
                    <a:lnTo>
                      <a:pt x="551721" y="1329425"/>
                    </a:lnTo>
                    <a:lnTo>
                      <a:pt x="816310" y="1329425"/>
                    </a:lnTo>
                    <a:lnTo>
                      <a:pt x="871423" y="1324858"/>
                    </a:lnTo>
                    <a:lnTo>
                      <a:pt x="923395" y="1309289"/>
                    </a:lnTo>
                    <a:lnTo>
                      <a:pt x="970632" y="1283785"/>
                    </a:lnTo>
                    <a:lnTo>
                      <a:pt x="1011602" y="1250412"/>
                    </a:lnTo>
                    <a:lnTo>
                      <a:pt x="1046496" y="1209310"/>
                    </a:lnTo>
                    <a:lnTo>
                      <a:pt x="1073537" y="1161116"/>
                    </a:lnTo>
                    <a:lnTo>
                      <a:pt x="1091106" y="1108205"/>
                    </a:lnTo>
                    <a:lnTo>
                      <a:pt x="1097673" y="1052931"/>
                    </a:lnTo>
                    <a:lnTo>
                      <a:pt x="1097673" y="1002534"/>
                    </a:lnTo>
                    <a:lnTo>
                      <a:pt x="1098231" y="993115"/>
                    </a:lnTo>
                    <a:lnTo>
                      <a:pt x="1123262" y="956309"/>
                    </a:lnTo>
                    <a:lnTo>
                      <a:pt x="1137577" y="951929"/>
                    </a:lnTo>
                    <a:lnTo>
                      <a:pt x="1751873" y="951929"/>
                    </a:lnTo>
                    <a:lnTo>
                      <a:pt x="1779135" y="949828"/>
                    </a:lnTo>
                    <a:lnTo>
                      <a:pt x="1827156" y="932081"/>
                    </a:lnTo>
                    <a:lnTo>
                      <a:pt x="1865158" y="896061"/>
                    </a:lnTo>
                    <a:lnTo>
                      <a:pt x="1884859" y="850983"/>
                    </a:lnTo>
                    <a:lnTo>
                      <a:pt x="1887324" y="825315"/>
                    </a:lnTo>
                    <a:lnTo>
                      <a:pt x="1884859" y="797853"/>
                    </a:lnTo>
                    <a:lnTo>
                      <a:pt x="1865158" y="749337"/>
                    </a:lnTo>
                    <a:lnTo>
                      <a:pt x="1827156" y="712145"/>
                    </a:lnTo>
                    <a:lnTo>
                      <a:pt x="1779135" y="691979"/>
                    </a:lnTo>
                    <a:lnTo>
                      <a:pt x="1751873" y="689329"/>
                    </a:lnTo>
                    <a:lnTo>
                      <a:pt x="1137577" y="689329"/>
                    </a:lnTo>
                    <a:lnTo>
                      <a:pt x="1130119" y="688797"/>
                    </a:lnTo>
                    <a:lnTo>
                      <a:pt x="1100169" y="663191"/>
                    </a:lnTo>
                    <a:lnTo>
                      <a:pt x="1097673" y="646598"/>
                    </a:lnTo>
                    <a:lnTo>
                      <a:pt x="1097673" y="634001"/>
                    </a:lnTo>
                    <a:lnTo>
                      <a:pt x="1098985" y="619698"/>
                    </a:lnTo>
                    <a:lnTo>
                      <a:pt x="1103446" y="608669"/>
                    </a:lnTo>
                    <a:lnTo>
                      <a:pt x="1111848" y="601571"/>
                    </a:lnTo>
                    <a:lnTo>
                      <a:pt x="1124981" y="599060"/>
                    </a:lnTo>
                    <a:lnTo>
                      <a:pt x="1531304" y="599060"/>
                    </a:lnTo>
                    <a:lnTo>
                      <a:pt x="1557182" y="596873"/>
                    </a:lnTo>
                    <a:lnTo>
                      <a:pt x="1603643" y="578382"/>
                    </a:lnTo>
                    <a:lnTo>
                      <a:pt x="1641450" y="540987"/>
                    </a:lnTo>
                    <a:lnTo>
                      <a:pt x="1661140" y="495123"/>
                    </a:lnTo>
                    <a:lnTo>
                      <a:pt x="1663603" y="469357"/>
                    </a:lnTo>
                    <a:lnTo>
                      <a:pt x="1661140" y="443279"/>
                    </a:lnTo>
                    <a:lnTo>
                      <a:pt x="1641450" y="396306"/>
                    </a:lnTo>
                    <a:lnTo>
                      <a:pt x="1603643" y="359297"/>
                    </a:lnTo>
                    <a:lnTo>
                      <a:pt x="1557182" y="339106"/>
                    </a:lnTo>
                    <a:lnTo>
                      <a:pt x="1531304" y="336450"/>
                    </a:lnTo>
                    <a:lnTo>
                      <a:pt x="1137577" y="336450"/>
                    </a:lnTo>
                    <a:lnTo>
                      <a:pt x="1130119" y="335926"/>
                    </a:lnTo>
                    <a:lnTo>
                      <a:pt x="1100169" y="310392"/>
                    </a:lnTo>
                    <a:lnTo>
                      <a:pt x="1097673" y="293823"/>
                    </a:lnTo>
                    <a:lnTo>
                      <a:pt x="1097673" y="281227"/>
                    </a:lnTo>
                    <a:lnTo>
                      <a:pt x="1098985" y="268190"/>
                    </a:lnTo>
                    <a:lnTo>
                      <a:pt x="1103446" y="259947"/>
                    </a:lnTo>
                    <a:lnTo>
                      <a:pt x="1111848" y="255635"/>
                    </a:lnTo>
                    <a:lnTo>
                      <a:pt x="1124981" y="254390"/>
                    </a:lnTo>
                    <a:lnTo>
                      <a:pt x="1641552" y="254390"/>
                    </a:lnTo>
                    <a:lnTo>
                      <a:pt x="1667429" y="251569"/>
                    </a:lnTo>
                    <a:lnTo>
                      <a:pt x="1713882" y="230293"/>
                    </a:lnTo>
                    <a:lnTo>
                      <a:pt x="1751692" y="191953"/>
                    </a:lnTo>
                    <a:lnTo>
                      <a:pt x="1771379" y="144693"/>
                    </a:lnTo>
                    <a:lnTo>
                      <a:pt x="1773841" y="118603"/>
                    </a:lnTo>
                    <a:lnTo>
                      <a:pt x="1771379" y="93647"/>
                    </a:lnTo>
                    <a:lnTo>
                      <a:pt x="1751692" y="51588"/>
                    </a:lnTo>
                    <a:lnTo>
                      <a:pt x="1713882" y="16812"/>
                    </a:lnTo>
                    <a:lnTo>
                      <a:pt x="1667429" y="1538"/>
                    </a:lnTo>
                    <a:lnTo>
                      <a:pt x="1641552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7" name="object 5"/>
              <p:cNvSpPr>
                <a:spLocks noChangeArrowheads="1"/>
              </p:cNvSpPr>
              <p:nvPr userDrawn="1"/>
            </p:nvSpPr>
            <p:spPr bwMode="auto">
              <a:xfrm>
                <a:off x="9083675" y="3970338"/>
                <a:ext cx="998538" cy="890587"/>
              </a:xfrm>
              <a:custGeom>
                <a:avLst/>
                <a:gdLst>
                  <a:gd name="T0" fmla="*/ 450405 w 998854"/>
                  <a:gd name="T1" fmla="*/ 8084 h 890904"/>
                  <a:gd name="T2" fmla="*/ 374033 w 998854"/>
                  <a:gd name="T3" fmla="*/ 70806 h 890904"/>
                  <a:gd name="T4" fmla="*/ 347642 w 998854"/>
                  <a:gd name="T5" fmla="*/ 159526 h 890904"/>
                  <a:gd name="T6" fmla="*/ 277862 w 998854"/>
                  <a:gd name="T7" fmla="*/ 222912 h 890904"/>
                  <a:gd name="T8" fmla="*/ 141754 w 998854"/>
                  <a:gd name="T9" fmla="*/ 225511 h 890904"/>
                  <a:gd name="T10" fmla="*/ 62594 w 998854"/>
                  <a:gd name="T11" fmla="*/ 242575 h 890904"/>
                  <a:gd name="T12" fmla="*/ 2558 w 998854"/>
                  <a:gd name="T13" fmla="*/ 325110 h 890904"/>
                  <a:gd name="T14" fmla="*/ 2558 w 998854"/>
                  <a:gd name="T15" fmla="*/ 380222 h 890904"/>
                  <a:gd name="T16" fmla="*/ 62594 w 998854"/>
                  <a:gd name="T17" fmla="*/ 467421 h 890904"/>
                  <a:gd name="T18" fmla="*/ 141754 w 998854"/>
                  <a:gd name="T19" fmla="*/ 488121 h 890904"/>
                  <a:gd name="T20" fmla="*/ 279459 w 998854"/>
                  <a:gd name="T21" fmla="*/ 490188 h 890904"/>
                  <a:gd name="T22" fmla="*/ 343964 w 998854"/>
                  <a:gd name="T23" fmla="*/ 535349 h 890904"/>
                  <a:gd name="T24" fmla="*/ 360512 w 998854"/>
                  <a:gd name="T25" fmla="*/ 594557 h 890904"/>
                  <a:gd name="T26" fmla="*/ 362958 w 998854"/>
                  <a:gd name="T27" fmla="*/ 779419 h 890904"/>
                  <a:gd name="T28" fmla="*/ 422324 w 998854"/>
                  <a:gd name="T29" fmla="*/ 867615 h 890904"/>
                  <a:gd name="T30" fmla="*/ 501178 w 998854"/>
                  <a:gd name="T31" fmla="*/ 890643 h 890904"/>
                  <a:gd name="T32" fmla="*/ 575418 w 998854"/>
                  <a:gd name="T33" fmla="*/ 867615 h 890904"/>
                  <a:gd name="T34" fmla="*/ 629664 w 998854"/>
                  <a:gd name="T35" fmla="*/ 779419 h 890904"/>
                  <a:gd name="T36" fmla="*/ 631321 w 998854"/>
                  <a:gd name="T37" fmla="*/ 594557 h 890904"/>
                  <a:gd name="T38" fmla="*/ 652012 w 998854"/>
                  <a:gd name="T39" fmla="*/ 535349 h 890904"/>
                  <a:gd name="T40" fmla="*/ 721407 w 998854"/>
                  <a:gd name="T41" fmla="*/ 490188 h 890904"/>
                  <a:gd name="T42" fmla="*/ 859910 w 998854"/>
                  <a:gd name="T43" fmla="*/ 488121 h 890904"/>
                  <a:gd name="T44" fmla="*/ 938137 w 998854"/>
                  <a:gd name="T45" fmla="*/ 466144 h 890904"/>
                  <a:gd name="T46" fmla="*/ 996030 w 998854"/>
                  <a:gd name="T47" fmla="*/ 379457 h 890904"/>
                  <a:gd name="T48" fmla="*/ 996030 w 998854"/>
                  <a:gd name="T49" fmla="*/ 324584 h 890904"/>
                  <a:gd name="T50" fmla="*/ 938137 w 998854"/>
                  <a:gd name="T51" fmla="*/ 242575 h 890904"/>
                  <a:gd name="T52" fmla="*/ 859910 w 998854"/>
                  <a:gd name="T53" fmla="*/ 225511 h 890904"/>
                  <a:gd name="T54" fmla="*/ 721897 w 998854"/>
                  <a:gd name="T55" fmla="*/ 222897 h 890904"/>
                  <a:gd name="T56" fmla="*/ 651219 w 998854"/>
                  <a:gd name="T57" fmla="*/ 160896 h 890904"/>
                  <a:gd name="T58" fmla="*/ 634188 w 998854"/>
                  <a:gd name="T59" fmla="*/ 96240 h 890904"/>
                  <a:gd name="T60" fmla="*/ 593741 w 998854"/>
                  <a:gd name="T61" fmla="*/ 33831 h 890904"/>
                  <a:gd name="T62" fmla="*/ 526699 w 998854"/>
                  <a:gd name="T63" fmla="*/ 2186 h 890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98854" h="890904">
                    <a:moveTo>
                      <a:pt x="500822" y="0"/>
                    </a:moveTo>
                    <a:lnTo>
                      <a:pt x="450405" y="8084"/>
                    </a:lnTo>
                    <a:lnTo>
                      <a:pt x="406333" y="32700"/>
                    </a:lnTo>
                    <a:lnTo>
                      <a:pt x="374033" y="70806"/>
                    </a:lnTo>
                    <a:lnTo>
                      <a:pt x="354637" y="139661"/>
                    </a:lnTo>
                    <a:lnTo>
                      <a:pt x="347642" y="159526"/>
                    </a:lnTo>
                    <a:lnTo>
                      <a:pt x="326011" y="192800"/>
                    </a:lnTo>
                    <a:lnTo>
                      <a:pt x="277862" y="222912"/>
                    </a:lnTo>
                    <a:lnTo>
                      <a:pt x="258285" y="225511"/>
                    </a:lnTo>
                    <a:lnTo>
                      <a:pt x="141754" y="225511"/>
                    </a:lnTo>
                    <a:lnTo>
                      <a:pt x="112996" y="227032"/>
                    </a:lnTo>
                    <a:lnTo>
                      <a:pt x="62594" y="242575"/>
                    </a:lnTo>
                    <a:lnTo>
                      <a:pt x="23032" y="279161"/>
                    </a:lnTo>
                    <a:lnTo>
                      <a:pt x="2558" y="325110"/>
                    </a:lnTo>
                    <a:lnTo>
                      <a:pt x="0" y="351905"/>
                    </a:lnTo>
                    <a:lnTo>
                      <a:pt x="2558" y="380222"/>
                    </a:lnTo>
                    <a:lnTo>
                      <a:pt x="23032" y="428725"/>
                    </a:lnTo>
                    <a:lnTo>
                      <a:pt x="62594" y="467421"/>
                    </a:lnTo>
                    <a:lnTo>
                      <a:pt x="112996" y="485994"/>
                    </a:lnTo>
                    <a:lnTo>
                      <a:pt x="141754" y="488121"/>
                    </a:lnTo>
                    <a:lnTo>
                      <a:pt x="258285" y="488121"/>
                    </a:lnTo>
                    <a:lnTo>
                      <a:pt x="279459" y="490188"/>
                    </a:lnTo>
                    <a:lnTo>
                      <a:pt x="316178" y="506011"/>
                    </a:lnTo>
                    <a:lnTo>
                      <a:pt x="343964" y="535349"/>
                    </a:lnTo>
                    <a:lnTo>
                      <a:pt x="358630" y="573211"/>
                    </a:lnTo>
                    <a:lnTo>
                      <a:pt x="360512" y="594557"/>
                    </a:lnTo>
                    <a:lnTo>
                      <a:pt x="360512" y="752050"/>
                    </a:lnTo>
                    <a:lnTo>
                      <a:pt x="362958" y="779419"/>
                    </a:lnTo>
                    <a:lnTo>
                      <a:pt x="382935" y="828247"/>
                    </a:lnTo>
                    <a:lnTo>
                      <a:pt x="422324" y="867615"/>
                    </a:lnTo>
                    <a:lnTo>
                      <a:pt x="472480" y="888086"/>
                    </a:lnTo>
                    <a:lnTo>
                      <a:pt x="501178" y="890643"/>
                    </a:lnTo>
                    <a:lnTo>
                      <a:pt x="529002" y="888086"/>
                    </a:lnTo>
                    <a:lnTo>
                      <a:pt x="575418" y="867615"/>
                    </a:lnTo>
                    <a:lnTo>
                      <a:pt x="613174" y="828247"/>
                    </a:lnTo>
                    <a:lnTo>
                      <a:pt x="629664" y="779419"/>
                    </a:lnTo>
                    <a:lnTo>
                      <a:pt x="631321" y="752050"/>
                    </a:lnTo>
                    <a:lnTo>
                      <a:pt x="631321" y="594557"/>
                    </a:lnTo>
                    <a:lnTo>
                      <a:pt x="633972" y="573211"/>
                    </a:lnTo>
                    <a:lnTo>
                      <a:pt x="652012" y="535349"/>
                    </a:lnTo>
                    <a:lnTo>
                      <a:pt x="681327" y="506011"/>
                    </a:lnTo>
                    <a:lnTo>
                      <a:pt x="721407" y="490188"/>
                    </a:lnTo>
                    <a:lnTo>
                      <a:pt x="743359" y="488121"/>
                    </a:lnTo>
                    <a:lnTo>
                      <a:pt x="859910" y="488121"/>
                    </a:lnTo>
                    <a:lnTo>
                      <a:pt x="888529" y="485758"/>
                    </a:lnTo>
                    <a:lnTo>
                      <a:pt x="938137" y="466144"/>
                    </a:lnTo>
                    <a:lnTo>
                      <a:pt x="976339" y="427350"/>
                    </a:lnTo>
                    <a:lnTo>
                      <a:pt x="996030" y="379457"/>
                    </a:lnTo>
                    <a:lnTo>
                      <a:pt x="998493" y="351277"/>
                    </a:lnTo>
                    <a:lnTo>
                      <a:pt x="996030" y="324584"/>
                    </a:lnTo>
                    <a:lnTo>
                      <a:pt x="976339" y="279064"/>
                    </a:lnTo>
                    <a:lnTo>
                      <a:pt x="938137" y="242575"/>
                    </a:lnTo>
                    <a:lnTo>
                      <a:pt x="888529" y="227032"/>
                    </a:lnTo>
                    <a:lnTo>
                      <a:pt x="859910" y="225511"/>
                    </a:lnTo>
                    <a:lnTo>
                      <a:pt x="740207" y="225511"/>
                    </a:lnTo>
                    <a:lnTo>
                      <a:pt x="721897" y="222897"/>
                    </a:lnTo>
                    <a:lnTo>
                      <a:pt x="674063" y="192706"/>
                    </a:lnTo>
                    <a:lnTo>
                      <a:pt x="651219" y="160896"/>
                    </a:lnTo>
                    <a:lnTo>
                      <a:pt x="639425" y="121964"/>
                    </a:lnTo>
                    <a:lnTo>
                      <a:pt x="634188" y="96240"/>
                    </a:lnTo>
                    <a:lnTo>
                      <a:pt x="624833" y="72785"/>
                    </a:lnTo>
                    <a:lnTo>
                      <a:pt x="593741" y="33831"/>
                    </a:lnTo>
                    <a:lnTo>
                      <a:pt x="550807" y="8650"/>
                    </a:lnTo>
                    <a:lnTo>
                      <a:pt x="526699" y="2186"/>
                    </a:lnTo>
                    <a:lnTo>
                      <a:pt x="500822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8" name="object 6"/>
              <p:cNvSpPr>
                <a:spLocks noChangeArrowheads="1"/>
              </p:cNvSpPr>
              <p:nvPr userDrawn="1"/>
            </p:nvSpPr>
            <p:spPr bwMode="auto">
              <a:xfrm>
                <a:off x="8713788" y="3270250"/>
                <a:ext cx="2439987" cy="2995613"/>
              </a:xfrm>
              <a:custGeom>
                <a:avLst/>
                <a:gdLst>
                  <a:gd name="T0" fmla="*/ 1306690 w 2439670"/>
                  <a:gd name="T1" fmla="*/ 42519 h 2995929"/>
                  <a:gd name="T2" fmla="*/ 1174064 w 2439670"/>
                  <a:gd name="T3" fmla="*/ 2667 h 2995929"/>
                  <a:gd name="T4" fmla="*/ 1061224 w 2439670"/>
                  <a:gd name="T5" fmla="*/ 117830 h 2995929"/>
                  <a:gd name="T6" fmla="*/ 1069505 w 2439670"/>
                  <a:gd name="T7" fmla="*/ 209080 h 2995929"/>
                  <a:gd name="T8" fmla="*/ 1204556 w 2439670"/>
                  <a:gd name="T9" fmla="*/ 299237 h 2995929"/>
                  <a:gd name="T10" fmla="*/ 1324762 w 2439670"/>
                  <a:gd name="T11" fmla="*/ 234175 h 2995929"/>
                  <a:gd name="T12" fmla="*/ 1345831 w 2439670"/>
                  <a:gd name="T13" fmla="*/ 148043 h 2995929"/>
                  <a:gd name="T14" fmla="*/ 1318056 w 2439670"/>
                  <a:gd name="T15" fmla="*/ 1288275 h 2995929"/>
                  <a:gd name="T16" fmla="*/ 1186611 w 2439670"/>
                  <a:gd name="T17" fmla="*/ 1249883 h 2995929"/>
                  <a:gd name="T18" fmla="*/ 1077620 w 2439670"/>
                  <a:gd name="T19" fmla="*/ 1360335 h 2995929"/>
                  <a:gd name="T20" fmla="*/ 1085354 w 2439670"/>
                  <a:gd name="T21" fmla="*/ 1448130 h 2995929"/>
                  <a:gd name="T22" fmla="*/ 1213916 w 2439670"/>
                  <a:gd name="T23" fmla="*/ 1533956 h 2995929"/>
                  <a:gd name="T24" fmla="*/ 1336421 w 2439670"/>
                  <a:gd name="T25" fmla="*/ 1471561 h 2995929"/>
                  <a:gd name="T26" fmla="*/ 1362252 w 2439670"/>
                  <a:gd name="T27" fmla="*/ 1389062 h 2995929"/>
                  <a:gd name="T28" fmla="*/ 2248712 w 2439670"/>
                  <a:gd name="T29" fmla="*/ 391464 h 2995929"/>
                  <a:gd name="T30" fmla="*/ 335203 w 2439670"/>
                  <a:gd name="T31" fmla="*/ 342874 h 2995929"/>
                  <a:gd name="T32" fmla="*/ 137947 w 2439670"/>
                  <a:gd name="T33" fmla="*/ 410489 h 2995929"/>
                  <a:gd name="T34" fmla="*/ 19570 w 2439670"/>
                  <a:gd name="T35" fmla="*/ 567309 h 2995929"/>
                  <a:gd name="T36" fmla="*/ 0 w 2439670"/>
                  <a:gd name="T37" fmla="*/ 2850565 h 2995929"/>
                  <a:gd name="T38" fmla="*/ 83870 w 2439670"/>
                  <a:gd name="T39" fmla="*/ 2985478 h 2995929"/>
                  <a:gd name="T40" fmla="*/ 218998 w 2439670"/>
                  <a:gd name="T41" fmla="*/ 2972435 h 2995929"/>
                  <a:gd name="T42" fmla="*/ 287223 w 2439670"/>
                  <a:gd name="T43" fmla="*/ 775119 h 2995929"/>
                  <a:gd name="T44" fmla="*/ 347002 w 2439670"/>
                  <a:gd name="T45" fmla="*/ 674839 h 2995929"/>
                  <a:gd name="T46" fmla="*/ 2146338 w 2439670"/>
                  <a:gd name="T47" fmla="*/ 654710 h 2995929"/>
                  <a:gd name="T48" fmla="*/ 2267318 w 2439670"/>
                  <a:gd name="T49" fmla="*/ 585000 h 2995929"/>
                  <a:gd name="T50" fmla="*/ 2412669 w 2439670"/>
                  <a:gd name="T51" fmla="*/ 1389062 h 2995929"/>
                  <a:gd name="T52" fmla="*/ 2334171 w 2439670"/>
                  <a:gd name="T53" fmla="*/ 1257579 h 2995929"/>
                  <a:gd name="T54" fmla="*/ 2208479 w 2439670"/>
                  <a:gd name="T55" fmla="*/ 1270368 h 2995929"/>
                  <a:gd name="T56" fmla="*/ 2150059 w 2439670"/>
                  <a:gd name="T57" fmla="*/ 1389062 h 2995929"/>
                  <a:gd name="T58" fmla="*/ 2187575 w 2439670"/>
                  <a:gd name="T59" fmla="*/ 1493012 h 2995929"/>
                  <a:gd name="T60" fmla="*/ 2311247 w 2439670"/>
                  <a:gd name="T61" fmla="*/ 1531404 h 2995929"/>
                  <a:gd name="T62" fmla="*/ 2411095 w 2439670"/>
                  <a:gd name="T63" fmla="*/ 1422730 h 2995929"/>
                  <a:gd name="T64" fmla="*/ 2439276 w 2439670"/>
                  <a:gd name="T65" fmla="*/ 1048258 h 2995929"/>
                  <a:gd name="T66" fmla="*/ 2352649 w 2439670"/>
                  <a:gd name="T67" fmla="*/ 932192 h 2995929"/>
                  <a:gd name="T68" fmla="*/ 2161400 w 2439670"/>
                  <a:gd name="T69" fmla="*/ 922909 h 2995929"/>
                  <a:gd name="T70" fmla="*/ 2080209 w 2439670"/>
                  <a:gd name="T71" fmla="*/ 821969 h 2995929"/>
                  <a:gd name="T72" fmla="*/ 2032952 w 2439670"/>
                  <a:gd name="T73" fmla="*/ 733844 h 2995929"/>
                  <a:gd name="T74" fmla="*/ 1912543 w 2439670"/>
                  <a:gd name="T75" fmla="*/ 702017 h 2995929"/>
                  <a:gd name="T76" fmla="*/ 1805076 w 2439670"/>
                  <a:gd name="T77" fmla="*/ 793673 h 2995929"/>
                  <a:gd name="T78" fmla="*/ 1766785 w 2439670"/>
                  <a:gd name="T79" fmla="*/ 892810 h 2995929"/>
                  <a:gd name="T80" fmla="*/ 1579384 w 2439670"/>
                  <a:gd name="T81" fmla="*/ 925525 h 2995929"/>
                  <a:gd name="T82" fmla="*/ 1462925 w 2439670"/>
                  <a:gd name="T83" fmla="*/ 979170 h 2995929"/>
                  <a:gd name="T84" fmla="*/ 1443240 w 2439670"/>
                  <a:gd name="T85" fmla="*/ 1080223 h 2995929"/>
                  <a:gd name="T86" fmla="*/ 1550720 w 2439670"/>
                  <a:gd name="T87" fmla="*/ 1186002 h 2995929"/>
                  <a:gd name="T88" fmla="*/ 1716227 w 2439670"/>
                  <a:gd name="T89" fmla="*/ 1190193 h 2995929"/>
                  <a:gd name="T90" fmla="*/ 1788985 w 2439670"/>
                  <a:gd name="T91" fmla="*/ 1294574 h 2995929"/>
                  <a:gd name="T92" fmla="*/ 1815706 w 2439670"/>
                  <a:gd name="T93" fmla="*/ 1528254 h 2995929"/>
                  <a:gd name="T94" fmla="*/ 1935734 w 2439670"/>
                  <a:gd name="T95" fmla="*/ 1590649 h 2995929"/>
                  <a:gd name="T96" fmla="*/ 2067928 w 2439670"/>
                  <a:gd name="T97" fmla="*/ 1528254 h 2995929"/>
                  <a:gd name="T98" fmla="*/ 2100821 w 2439670"/>
                  <a:gd name="T99" fmla="*/ 1294574 h 2995929"/>
                  <a:gd name="T100" fmla="*/ 2134654 w 2439670"/>
                  <a:gd name="T101" fmla="*/ 1206017 h 2995929"/>
                  <a:gd name="T102" fmla="*/ 2326271 w 2439670"/>
                  <a:gd name="T103" fmla="*/ 1185773 h 2995929"/>
                  <a:gd name="T104" fmla="*/ 2436711 w 2439670"/>
                  <a:gd name="T105" fmla="*/ 1076921 h 2995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39670" h="2995929">
                    <a:moveTo>
                      <a:pt x="1345831" y="148043"/>
                    </a:moveTo>
                    <a:lnTo>
                      <a:pt x="1336890" y="90170"/>
                    </a:lnTo>
                    <a:lnTo>
                      <a:pt x="1306690" y="42519"/>
                    </a:lnTo>
                    <a:lnTo>
                      <a:pt x="1259890" y="10629"/>
                    </a:lnTo>
                    <a:lnTo>
                      <a:pt x="1202880" y="0"/>
                    </a:lnTo>
                    <a:lnTo>
                      <a:pt x="1174064" y="2667"/>
                    </a:lnTo>
                    <a:lnTo>
                      <a:pt x="1123111" y="23914"/>
                    </a:lnTo>
                    <a:lnTo>
                      <a:pt x="1082268" y="65062"/>
                    </a:lnTo>
                    <a:lnTo>
                      <a:pt x="1061224" y="117830"/>
                    </a:lnTo>
                    <a:lnTo>
                      <a:pt x="1058621" y="148043"/>
                    </a:lnTo>
                    <a:lnTo>
                      <a:pt x="1058621" y="151193"/>
                    </a:lnTo>
                    <a:lnTo>
                      <a:pt x="1069505" y="209080"/>
                    </a:lnTo>
                    <a:lnTo>
                      <a:pt x="1101661" y="256705"/>
                    </a:lnTo>
                    <a:lnTo>
                      <a:pt x="1148765" y="288607"/>
                    </a:lnTo>
                    <a:lnTo>
                      <a:pt x="1204556" y="299237"/>
                    </a:lnTo>
                    <a:lnTo>
                      <a:pt x="1234236" y="296570"/>
                    </a:lnTo>
                    <a:lnTo>
                      <a:pt x="1284681" y="275310"/>
                    </a:lnTo>
                    <a:lnTo>
                      <a:pt x="1324762" y="234175"/>
                    </a:lnTo>
                    <a:lnTo>
                      <a:pt x="1343698" y="181419"/>
                    </a:lnTo>
                    <a:lnTo>
                      <a:pt x="1345831" y="151193"/>
                    </a:lnTo>
                    <a:lnTo>
                      <a:pt x="1345831" y="148043"/>
                    </a:lnTo>
                    <a:close/>
                  </a:path>
                  <a:path w="2439670" h="2995929">
                    <a:moveTo>
                      <a:pt x="1362252" y="1389062"/>
                    </a:moveTo>
                    <a:lnTo>
                      <a:pt x="1350378" y="1333957"/>
                    </a:lnTo>
                    <a:lnTo>
                      <a:pt x="1318056" y="1288275"/>
                    </a:lnTo>
                    <a:lnTo>
                      <a:pt x="1270736" y="1257579"/>
                    </a:lnTo>
                    <a:lnTo>
                      <a:pt x="1214005" y="1247317"/>
                    </a:lnTo>
                    <a:lnTo>
                      <a:pt x="1186611" y="1249883"/>
                    </a:lnTo>
                    <a:lnTo>
                      <a:pt x="1137640" y="1270368"/>
                    </a:lnTo>
                    <a:lnTo>
                      <a:pt x="1098219" y="1309941"/>
                    </a:lnTo>
                    <a:lnTo>
                      <a:pt x="1077620" y="1360335"/>
                    </a:lnTo>
                    <a:lnTo>
                      <a:pt x="1075029" y="1389062"/>
                    </a:lnTo>
                    <a:lnTo>
                      <a:pt x="1075029" y="1395361"/>
                    </a:lnTo>
                    <a:lnTo>
                      <a:pt x="1085354" y="1448130"/>
                    </a:lnTo>
                    <a:lnTo>
                      <a:pt x="1116164" y="1493012"/>
                    </a:lnTo>
                    <a:lnTo>
                      <a:pt x="1161097" y="1523733"/>
                    </a:lnTo>
                    <a:lnTo>
                      <a:pt x="1213916" y="1533956"/>
                    </a:lnTo>
                    <a:lnTo>
                      <a:pt x="1243152" y="1531404"/>
                    </a:lnTo>
                    <a:lnTo>
                      <a:pt x="1295831" y="1510931"/>
                    </a:lnTo>
                    <a:lnTo>
                      <a:pt x="1336421" y="1471561"/>
                    </a:lnTo>
                    <a:lnTo>
                      <a:pt x="1359179" y="1422730"/>
                    </a:lnTo>
                    <a:lnTo>
                      <a:pt x="1362252" y="1395361"/>
                    </a:lnTo>
                    <a:lnTo>
                      <a:pt x="1362252" y="1389062"/>
                    </a:lnTo>
                    <a:close/>
                  </a:path>
                  <a:path w="2439670" h="2995929">
                    <a:moveTo>
                      <a:pt x="2291232" y="503072"/>
                    </a:moveTo>
                    <a:lnTo>
                      <a:pt x="2280602" y="442163"/>
                    </a:lnTo>
                    <a:lnTo>
                      <a:pt x="2248712" y="391464"/>
                    </a:lnTo>
                    <a:lnTo>
                      <a:pt x="2201849" y="356539"/>
                    </a:lnTo>
                    <a:lnTo>
                      <a:pt x="2146338" y="342874"/>
                    </a:lnTo>
                    <a:lnTo>
                      <a:pt x="335203" y="342874"/>
                    </a:lnTo>
                    <a:lnTo>
                      <a:pt x="264706" y="352437"/>
                    </a:lnTo>
                    <a:lnTo>
                      <a:pt x="198196" y="376174"/>
                    </a:lnTo>
                    <a:lnTo>
                      <a:pt x="137947" y="410489"/>
                    </a:lnTo>
                    <a:lnTo>
                      <a:pt x="86385" y="454240"/>
                    </a:lnTo>
                    <a:lnTo>
                      <a:pt x="48247" y="506450"/>
                    </a:lnTo>
                    <a:lnTo>
                      <a:pt x="19570" y="567309"/>
                    </a:lnTo>
                    <a:lnTo>
                      <a:pt x="2692" y="634479"/>
                    </a:lnTo>
                    <a:lnTo>
                      <a:pt x="0" y="705548"/>
                    </a:lnTo>
                    <a:lnTo>
                      <a:pt x="0" y="2850565"/>
                    </a:lnTo>
                    <a:lnTo>
                      <a:pt x="10490" y="2907385"/>
                    </a:lnTo>
                    <a:lnTo>
                      <a:pt x="42608" y="2954159"/>
                    </a:lnTo>
                    <a:lnTo>
                      <a:pt x="83870" y="2985478"/>
                    </a:lnTo>
                    <a:lnTo>
                      <a:pt x="134353" y="2995917"/>
                    </a:lnTo>
                    <a:lnTo>
                      <a:pt x="164630" y="2993313"/>
                    </a:lnTo>
                    <a:lnTo>
                      <a:pt x="218998" y="2972435"/>
                    </a:lnTo>
                    <a:lnTo>
                      <a:pt x="260565" y="2932036"/>
                    </a:lnTo>
                    <a:lnTo>
                      <a:pt x="284022" y="2880220"/>
                    </a:lnTo>
                    <a:lnTo>
                      <a:pt x="287223" y="775119"/>
                    </a:lnTo>
                    <a:lnTo>
                      <a:pt x="289585" y="751357"/>
                    </a:lnTo>
                    <a:lnTo>
                      <a:pt x="308419" y="710996"/>
                    </a:lnTo>
                    <a:lnTo>
                      <a:pt x="347002" y="674839"/>
                    </a:lnTo>
                    <a:lnTo>
                      <a:pt x="395300" y="656666"/>
                    </a:lnTo>
                    <a:lnTo>
                      <a:pt x="423405" y="654710"/>
                    </a:lnTo>
                    <a:lnTo>
                      <a:pt x="2146338" y="654710"/>
                    </a:lnTo>
                    <a:lnTo>
                      <a:pt x="2175167" y="651357"/>
                    </a:lnTo>
                    <a:lnTo>
                      <a:pt x="2226360" y="626999"/>
                    </a:lnTo>
                    <a:lnTo>
                      <a:pt x="2267318" y="585000"/>
                    </a:lnTo>
                    <a:lnTo>
                      <a:pt x="2288578" y="532269"/>
                    </a:lnTo>
                    <a:lnTo>
                      <a:pt x="2291232" y="503072"/>
                    </a:lnTo>
                    <a:close/>
                  </a:path>
                  <a:path w="2439670" h="2995929">
                    <a:moveTo>
                      <a:pt x="2412669" y="1389062"/>
                    </a:moveTo>
                    <a:lnTo>
                      <a:pt x="2405138" y="1333957"/>
                    </a:lnTo>
                    <a:lnTo>
                      <a:pt x="2377148" y="1288275"/>
                    </a:lnTo>
                    <a:lnTo>
                      <a:pt x="2334171" y="1257579"/>
                    </a:lnTo>
                    <a:lnTo>
                      <a:pt x="2281783" y="1247317"/>
                    </a:lnTo>
                    <a:lnTo>
                      <a:pt x="2254948" y="1249883"/>
                    </a:lnTo>
                    <a:lnTo>
                      <a:pt x="2208479" y="1270368"/>
                    </a:lnTo>
                    <a:lnTo>
                      <a:pt x="2170188" y="1309941"/>
                    </a:lnTo>
                    <a:lnTo>
                      <a:pt x="2152078" y="1360335"/>
                    </a:lnTo>
                    <a:lnTo>
                      <a:pt x="2150059" y="1389062"/>
                    </a:lnTo>
                    <a:lnTo>
                      <a:pt x="2150059" y="1395361"/>
                    </a:lnTo>
                    <a:lnTo>
                      <a:pt x="2158581" y="1448130"/>
                    </a:lnTo>
                    <a:lnTo>
                      <a:pt x="2187575" y="1493012"/>
                    </a:lnTo>
                    <a:lnTo>
                      <a:pt x="2231593" y="1523733"/>
                    </a:lnTo>
                    <a:lnTo>
                      <a:pt x="2283498" y="1533956"/>
                    </a:lnTo>
                    <a:lnTo>
                      <a:pt x="2311247" y="1531404"/>
                    </a:lnTo>
                    <a:lnTo>
                      <a:pt x="2357323" y="1510931"/>
                    </a:lnTo>
                    <a:lnTo>
                      <a:pt x="2394928" y="1471561"/>
                    </a:lnTo>
                    <a:lnTo>
                      <a:pt x="2411095" y="1422730"/>
                    </a:lnTo>
                    <a:lnTo>
                      <a:pt x="2412669" y="1395361"/>
                    </a:lnTo>
                    <a:lnTo>
                      <a:pt x="2412669" y="1389062"/>
                    </a:lnTo>
                    <a:close/>
                  </a:path>
                  <a:path w="2439670" h="2995929">
                    <a:moveTo>
                      <a:pt x="2439276" y="1048258"/>
                    </a:moveTo>
                    <a:lnTo>
                      <a:pt x="2429027" y="999083"/>
                    </a:lnTo>
                    <a:lnTo>
                      <a:pt x="2398318" y="958545"/>
                    </a:lnTo>
                    <a:lnTo>
                      <a:pt x="2352649" y="932192"/>
                    </a:lnTo>
                    <a:lnTo>
                      <a:pt x="2297531" y="925525"/>
                    </a:lnTo>
                    <a:lnTo>
                      <a:pt x="2180983" y="925525"/>
                    </a:lnTo>
                    <a:lnTo>
                      <a:pt x="2161400" y="922909"/>
                    </a:lnTo>
                    <a:lnTo>
                      <a:pt x="2127529" y="905383"/>
                    </a:lnTo>
                    <a:lnTo>
                      <a:pt x="2091601" y="860907"/>
                    </a:lnTo>
                    <a:lnTo>
                      <a:pt x="2080209" y="821969"/>
                    </a:lnTo>
                    <a:lnTo>
                      <a:pt x="2074862" y="796251"/>
                    </a:lnTo>
                    <a:lnTo>
                      <a:pt x="2065210" y="772795"/>
                    </a:lnTo>
                    <a:lnTo>
                      <a:pt x="2032952" y="733844"/>
                    </a:lnTo>
                    <a:lnTo>
                      <a:pt x="1988845" y="708660"/>
                    </a:lnTo>
                    <a:lnTo>
                      <a:pt x="1938451" y="700011"/>
                    </a:lnTo>
                    <a:lnTo>
                      <a:pt x="1912543" y="702017"/>
                    </a:lnTo>
                    <a:lnTo>
                      <a:pt x="1866099" y="718299"/>
                    </a:lnTo>
                    <a:lnTo>
                      <a:pt x="1827898" y="750493"/>
                    </a:lnTo>
                    <a:lnTo>
                      <a:pt x="1805076" y="793673"/>
                    </a:lnTo>
                    <a:lnTo>
                      <a:pt x="1796618" y="839673"/>
                    </a:lnTo>
                    <a:lnTo>
                      <a:pt x="1790014" y="859536"/>
                    </a:lnTo>
                    <a:lnTo>
                      <a:pt x="1766785" y="892810"/>
                    </a:lnTo>
                    <a:lnTo>
                      <a:pt x="1734896" y="915860"/>
                    </a:lnTo>
                    <a:lnTo>
                      <a:pt x="1699069" y="925525"/>
                    </a:lnTo>
                    <a:lnTo>
                      <a:pt x="1579384" y="925525"/>
                    </a:lnTo>
                    <a:lnTo>
                      <a:pt x="1550720" y="927036"/>
                    </a:lnTo>
                    <a:lnTo>
                      <a:pt x="1501114" y="942581"/>
                    </a:lnTo>
                    <a:lnTo>
                      <a:pt x="1462925" y="979170"/>
                    </a:lnTo>
                    <a:lnTo>
                      <a:pt x="1443240" y="1025118"/>
                    </a:lnTo>
                    <a:lnTo>
                      <a:pt x="1440789" y="1051902"/>
                    </a:lnTo>
                    <a:lnTo>
                      <a:pt x="1443240" y="1080223"/>
                    </a:lnTo>
                    <a:lnTo>
                      <a:pt x="1462925" y="1128725"/>
                    </a:lnTo>
                    <a:lnTo>
                      <a:pt x="1501114" y="1167422"/>
                    </a:lnTo>
                    <a:lnTo>
                      <a:pt x="1550720" y="1186002"/>
                    </a:lnTo>
                    <a:lnTo>
                      <a:pt x="1579384" y="1188135"/>
                    </a:lnTo>
                    <a:lnTo>
                      <a:pt x="1695919" y="1188135"/>
                    </a:lnTo>
                    <a:lnTo>
                      <a:pt x="1716227" y="1190193"/>
                    </a:lnTo>
                    <a:lnTo>
                      <a:pt x="1764499" y="1219301"/>
                    </a:lnTo>
                    <a:lnTo>
                      <a:pt x="1784223" y="1253413"/>
                    </a:lnTo>
                    <a:lnTo>
                      <a:pt x="1788985" y="1294574"/>
                    </a:lnTo>
                    <a:lnTo>
                      <a:pt x="1788985" y="1452054"/>
                    </a:lnTo>
                    <a:lnTo>
                      <a:pt x="1792287" y="1479435"/>
                    </a:lnTo>
                    <a:lnTo>
                      <a:pt x="1815706" y="1528254"/>
                    </a:lnTo>
                    <a:lnTo>
                      <a:pt x="1855177" y="1567624"/>
                    </a:lnTo>
                    <a:lnTo>
                      <a:pt x="1906663" y="1588096"/>
                    </a:lnTo>
                    <a:lnTo>
                      <a:pt x="1935734" y="1590649"/>
                    </a:lnTo>
                    <a:lnTo>
                      <a:pt x="1966290" y="1588096"/>
                    </a:lnTo>
                    <a:lnTo>
                      <a:pt x="2024710" y="1567624"/>
                    </a:lnTo>
                    <a:lnTo>
                      <a:pt x="2067928" y="1528254"/>
                    </a:lnTo>
                    <a:lnTo>
                      <a:pt x="2096427" y="1479435"/>
                    </a:lnTo>
                    <a:lnTo>
                      <a:pt x="2100821" y="1452054"/>
                    </a:lnTo>
                    <a:lnTo>
                      <a:pt x="2100821" y="1294574"/>
                    </a:lnTo>
                    <a:lnTo>
                      <a:pt x="2101075" y="1273225"/>
                    </a:lnTo>
                    <a:lnTo>
                      <a:pt x="2108936" y="1235354"/>
                    </a:lnTo>
                    <a:lnTo>
                      <a:pt x="2134654" y="1206017"/>
                    </a:lnTo>
                    <a:lnTo>
                      <a:pt x="2184133" y="1188135"/>
                    </a:lnTo>
                    <a:lnTo>
                      <a:pt x="2297531" y="1188135"/>
                    </a:lnTo>
                    <a:lnTo>
                      <a:pt x="2326271" y="1185773"/>
                    </a:lnTo>
                    <a:lnTo>
                      <a:pt x="2376665" y="1166152"/>
                    </a:lnTo>
                    <a:lnTo>
                      <a:pt x="2416225" y="1126883"/>
                    </a:lnTo>
                    <a:lnTo>
                      <a:pt x="2436711" y="1076921"/>
                    </a:lnTo>
                    <a:lnTo>
                      <a:pt x="2439276" y="1048258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9" name="object 7"/>
              <p:cNvSpPr>
                <a:spLocks noChangeArrowheads="1"/>
              </p:cNvSpPr>
              <p:nvPr userDrawn="1"/>
            </p:nvSpPr>
            <p:spPr bwMode="auto">
              <a:xfrm>
                <a:off x="11455400" y="3736975"/>
                <a:ext cx="947738" cy="2436813"/>
              </a:xfrm>
              <a:custGeom>
                <a:avLst/>
                <a:gdLst>
                  <a:gd name="T0" fmla="*/ 413225 w 948054"/>
                  <a:gd name="T1" fmla="*/ 11223 h 2436495"/>
                  <a:gd name="T2" fmla="*/ 324716 w 948054"/>
                  <a:gd name="T3" fmla="*/ 95209 h 2436495"/>
                  <a:gd name="T4" fmla="*/ 311215 w 948054"/>
                  <a:gd name="T5" fmla="*/ 362502 h 2436495"/>
                  <a:gd name="T6" fmla="*/ 294023 w 948054"/>
                  <a:gd name="T7" fmla="*/ 430568 h 2436495"/>
                  <a:gd name="T8" fmla="*/ 217799 w 948054"/>
                  <a:gd name="T9" fmla="*/ 481351 h 2436495"/>
                  <a:gd name="T10" fmla="*/ 156288 w 948054"/>
                  <a:gd name="T11" fmla="*/ 483189 h 2436495"/>
                  <a:gd name="T12" fmla="*/ 68680 w 948054"/>
                  <a:gd name="T13" fmla="*/ 510842 h 2436495"/>
                  <a:gd name="T14" fmla="*/ 2804 w 948054"/>
                  <a:gd name="T15" fmla="*/ 611639 h 2436495"/>
                  <a:gd name="T16" fmla="*/ 2804 w 948054"/>
                  <a:gd name="T17" fmla="*/ 675928 h 2436495"/>
                  <a:gd name="T18" fmla="*/ 68680 w 948054"/>
                  <a:gd name="T19" fmla="*/ 776645 h 2436495"/>
                  <a:gd name="T20" fmla="*/ 156288 w 948054"/>
                  <a:gd name="T21" fmla="*/ 803242 h 2436495"/>
                  <a:gd name="T22" fmla="*/ 217799 w 948054"/>
                  <a:gd name="T23" fmla="*/ 805393 h 2436495"/>
                  <a:gd name="T24" fmla="*/ 294023 w 948054"/>
                  <a:gd name="T25" fmla="*/ 858157 h 2436495"/>
                  <a:gd name="T26" fmla="*/ 311215 w 948054"/>
                  <a:gd name="T27" fmla="*/ 927856 h 2436495"/>
                  <a:gd name="T28" fmla="*/ 304074 w 948054"/>
                  <a:gd name="T29" fmla="*/ 1157861 h 2436495"/>
                  <a:gd name="T30" fmla="*/ 239898 w 948054"/>
                  <a:gd name="T31" fmla="*/ 1228039 h 2436495"/>
                  <a:gd name="T32" fmla="*/ 156288 w 948054"/>
                  <a:gd name="T33" fmla="*/ 1238171 h 2436495"/>
                  <a:gd name="T34" fmla="*/ 68680 w 948054"/>
                  <a:gd name="T35" fmla="*/ 1261734 h 2436495"/>
                  <a:gd name="T36" fmla="*/ 2804 w 948054"/>
                  <a:gd name="T37" fmla="*/ 1359734 h 2436495"/>
                  <a:gd name="T38" fmla="*/ 2804 w 948054"/>
                  <a:gd name="T39" fmla="*/ 1422928 h 2436495"/>
                  <a:gd name="T40" fmla="*/ 68680 w 948054"/>
                  <a:gd name="T41" fmla="*/ 1519070 h 2436495"/>
                  <a:gd name="T42" fmla="*/ 156288 w 948054"/>
                  <a:gd name="T43" fmla="*/ 1541806 h 2436495"/>
                  <a:gd name="T44" fmla="*/ 217799 w 948054"/>
                  <a:gd name="T45" fmla="*/ 1544482 h 2436495"/>
                  <a:gd name="T46" fmla="*/ 294023 w 948054"/>
                  <a:gd name="T47" fmla="*/ 1600613 h 2436495"/>
                  <a:gd name="T48" fmla="*/ 311215 w 948054"/>
                  <a:gd name="T49" fmla="*/ 1673153 h 2436495"/>
                  <a:gd name="T50" fmla="*/ 304074 w 948054"/>
                  <a:gd name="T51" fmla="*/ 2029925 h 2436495"/>
                  <a:gd name="T52" fmla="*/ 239898 w 948054"/>
                  <a:gd name="T53" fmla="*/ 2098915 h 2436495"/>
                  <a:gd name="T54" fmla="*/ 166277 w 948054"/>
                  <a:gd name="T55" fmla="*/ 2108040 h 2436495"/>
                  <a:gd name="T56" fmla="*/ 79581 w 948054"/>
                  <a:gd name="T57" fmla="*/ 2134010 h 2436495"/>
                  <a:gd name="T58" fmla="*/ 15998 w 948054"/>
                  <a:gd name="T59" fmla="*/ 2233658 h 2436495"/>
                  <a:gd name="T60" fmla="*/ 15998 w 948054"/>
                  <a:gd name="T61" fmla="*/ 2298509 h 2436495"/>
                  <a:gd name="T62" fmla="*/ 79581 w 948054"/>
                  <a:gd name="T63" fmla="*/ 2405467 h 2436495"/>
                  <a:gd name="T64" fmla="*/ 166277 w 948054"/>
                  <a:gd name="T65" fmla="*/ 2436292 h 2436495"/>
                  <a:gd name="T66" fmla="*/ 381180 w 948054"/>
                  <a:gd name="T67" fmla="*/ 2427407 h 2436495"/>
                  <a:gd name="T68" fmla="*/ 495083 w 948054"/>
                  <a:gd name="T69" fmla="*/ 2375209 h 2436495"/>
                  <a:gd name="T70" fmla="*/ 581788 w 948054"/>
                  <a:gd name="T71" fmla="*/ 2288016 h 2436495"/>
                  <a:gd name="T72" fmla="*/ 632161 w 948054"/>
                  <a:gd name="T73" fmla="*/ 2174440 h 2436495"/>
                  <a:gd name="T74" fmla="*/ 639467 w 948054"/>
                  <a:gd name="T75" fmla="*/ 1639887 h 2436495"/>
                  <a:gd name="T76" fmla="*/ 663937 w 948054"/>
                  <a:gd name="T77" fmla="*/ 1572559 h 2436495"/>
                  <a:gd name="T78" fmla="*/ 728312 w 948054"/>
                  <a:gd name="T79" fmla="*/ 1541806 h 2436495"/>
                  <a:gd name="T80" fmla="*/ 829829 w 948054"/>
                  <a:gd name="T81" fmla="*/ 1539183 h 2436495"/>
                  <a:gd name="T82" fmla="*/ 924409 w 948054"/>
                  <a:gd name="T83" fmla="*/ 1471028 h 2436495"/>
                  <a:gd name="T84" fmla="*/ 947803 w 948054"/>
                  <a:gd name="T85" fmla="*/ 1382575 h 2436495"/>
                  <a:gd name="T86" fmla="*/ 924409 w 948054"/>
                  <a:gd name="T87" fmla="*/ 1299069 h 2436495"/>
                  <a:gd name="T88" fmla="*/ 829829 w 948054"/>
                  <a:gd name="T89" fmla="*/ 1240361 h 2436495"/>
                  <a:gd name="T90" fmla="*/ 761557 w 948054"/>
                  <a:gd name="T91" fmla="*/ 1238171 h 2436495"/>
                  <a:gd name="T92" fmla="*/ 692899 w 948054"/>
                  <a:gd name="T93" fmla="*/ 1215921 h 2436495"/>
                  <a:gd name="T94" fmla="*/ 641414 w 948054"/>
                  <a:gd name="T95" fmla="*/ 1133680 h 2436495"/>
                  <a:gd name="T96" fmla="*/ 639467 w 948054"/>
                  <a:gd name="T97" fmla="*/ 894601 h 2436495"/>
                  <a:gd name="T98" fmla="*/ 692795 w 948054"/>
                  <a:gd name="T99" fmla="*/ 809881 h 2436495"/>
                  <a:gd name="T100" fmla="*/ 798143 w 948054"/>
                  <a:gd name="T101" fmla="*/ 803242 h 2436495"/>
                  <a:gd name="T102" fmla="*/ 883871 w 948054"/>
                  <a:gd name="T103" fmla="*/ 775381 h 2436495"/>
                  <a:gd name="T104" fmla="*/ 945201 w 948054"/>
                  <a:gd name="T105" fmla="*/ 671166 h 2436495"/>
                  <a:gd name="T106" fmla="*/ 945201 w 948054"/>
                  <a:gd name="T107" fmla="*/ 606801 h 2436495"/>
                  <a:gd name="T108" fmla="*/ 883871 w 948054"/>
                  <a:gd name="T109" fmla="*/ 509163 h 2436495"/>
                  <a:gd name="T110" fmla="*/ 798143 w 948054"/>
                  <a:gd name="T111" fmla="*/ 483189 h 2436495"/>
                  <a:gd name="T112" fmla="*/ 736319 w 948054"/>
                  <a:gd name="T113" fmla="*/ 481351 h 2436495"/>
                  <a:gd name="T114" fmla="*/ 658228 w 948054"/>
                  <a:gd name="T115" fmla="*/ 430568 h 2436495"/>
                  <a:gd name="T116" fmla="*/ 639467 w 948054"/>
                  <a:gd name="T117" fmla="*/ 362502 h 2436495"/>
                  <a:gd name="T118" fmla="*/ 636219 w 948054"/>
                  <a:gd name="T119" fmla="*/ 124412 h 2436495"/>
                  <a:gd name="T120" fmla="*/ 566059 w 948054"/>
                  <a:gd name="T121" fmla="*/ 25254 h 2436495"/>
                  <a:gd name="T122" fmla="*/ 476634 w 948054"/>
                  <a:gd name="T123" fmla="*/ 0 h 2436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48054" h="2436495">
                    <a:moveTo>
                      <a:pt x="476634" y="0"/>
                    </a:moveTo>
                    <a:lnTo>
                      <a:pt x="413225" y="11223"/>
                    </a:lnTo>
                    <a:lnTo>
                      <a:pt x="360669" y="44899"/>
                    </a:lnTo>
                    <a:lnTo>
                      <a:pt x="324716" y="95209"/>
                    </a:lnTo>
                    <a:lnTo>
                      <a:pt x="311215" y="156309"/>
                    </a:lnTo>
                    <a:lnTo>
                      <a:pt x="311215" y="362502"/>
                    </a:lnTo>
                    <a:lnTo>
                      <a:pt x="309555" y="387630"/>
                    </a:lnTo>
                    <a:lnTo>
                      <a:pt x="294023" y="430568"/>
                    </a:lnTo>
                    <a:lnTo>
                      <a:pt x="259931" y="465020"/>
                    </a:lnTo>
                    <a:lnTo>
                      <a:pt x="217799" y="481351"/>
                    </a:lnTo>
                    <a:lnTo>
                      <a:pt x="192884" y="483189"/>
                    </a:lnTo>
                    <a:lnTo>
                      <a:pt x="156288" y="483189"/>
                    </a:lnTo>
                    <a:lnTo>
                      <a:pt x="124373" y="486440"/>
                    </a:lnTo>
                    <a:lnTo>
                      <a:pt x="68680" y="510842"/>
                    </a:lnTo>
                    <a:lnTo>
                      <a:pt x="25245" y="554948"/>
                    </a:lnTo>
                    <a:lnTo>
                      <a:pt x="2804" y="611639"/>
                    </a:lnTo>
                    <a:lnTo>
                      <a:pt x="0" y="643760"/>
                    </a:lnTo>
                    <a:lnTo>
                      <a:pt x="2804" y="675928"/>
                    </a:lnTo>
                    <a:lnTo>
                      <a:pt x="25245" y="732712"/>
                    </a:lnTo>
                    <a:lnTo>
                      <a:pt x="68680" y="776645"/>
                    </a:lnTo>
                    <a:lnTo>
                      <a:pt x="124373" y="800188"/>
                    </a:lnTo>
                    <a:lnTo>
                      <a:pt x="156288" y="803242"/>
                    </a:lnTo>
                    <a:lnTo>
                      <a:pt x="192884" y="803242"/>
                    </a:lnTo>
                    <a:lnTo>
                      <a:pt x="217799" y="805393"/>
                    </a:lnTo>
                    <a:lnTo>
                      <a:pt x="259931" y="823085"/>
                    </a:lnTo>
                    <a:lnTo>
                      <a:pt x="294023" y="858157"/>
                    </a:lnTo>
                    <a:lnTo>
                      <a:pt x="309555" y="902445"/>
                    </a:lnTo>
                    <a:lnTo>
                      <a:pt x="311215" y="927856"/>
                    </a:lnTo>
                    <a:lnTo>
                      <a:pt x="311215" y="1107788"/>
                    </a:lnTo>
                    <a:lnTo>
                      <a:pt x="304074" y="1157861"/>
                    </a:lnTo>
                    <a:lnTo>
                      <a:pt x="278651" y="1199586"/>
                    </a:lnTo>
                    <a:lnTo>
                      <a:pt x="239898" y="1228039"/>
                    </a:lnTo>
                    <a:lnTo>
                      <a:pt x="192884" y="1238171"/>
                    </a:lnTo>
                    <a:lnTo>
                      <a:pt x="156288" y="1238171"/>
                    </a:lnTo>
                    <a:lnTo>
                      <a:pt x="124373" y="1240664"/>
                    </a:lnTo>
                    <a:lnTo>
                      <a:pt x="68680" y="1261734"/>
                    </a:lnTo>
                    <a:lnTo>
                      <a:pt x="25245" y="1304709"/>
                    </a:lnTo>
                    <a:lnTo>
                      <a:pt x="2804" y="1359734"/>
                    </a:lnTo>
                    <a:lnTo>
                      <a:pt x="0" y="1391475"/>
                    </a:lnTo>
                    <a:lnTo>
                      <a:pt x="2804" y="1422928"/>
                    </a:lnTo>
                    <a:lnTo>
                      <a:pt x="25245" y="1476566"/>
                    </a:lnTo>
                    <a:lnTo>
                      <a:pt x="68680" y="1519070"/>
                    </a:lnTo>
                    <a:lnTo>
                      <a:pt x="124373" y="1539467"/>
                    </a:lnTo>
                    <a:lnTo>
                      <a:pt x="156288" y="1541806"/>
                    </a:lnTo>
                    <a:lnTo>
                      <a:pt x="192884" y="1541806"/>
                    </a:lnTo>
                    <a:lnTo>
                      <a:pt x="217799" y="1544482"/>
                    </a:lnTo>
                    <a:lnTo>
                      <a:pt x="259931" y="1564485"/>
                    </a:lnTo>
                    <a:lnTo>
                      <a:pt x="294023" y="1600613"/>
                    </a:lnTo>
                    <a:lnTo>
                      <a:pt x="309555" y="1647216"/>
                    </a:lnTo>
                    <a:lnTo>
                      <a:pt x="311215" y="1673153"/>
                    </a:lnTo>
                    <a:lnTo>
                      <a:pt x="311215" y="1983363"/>
                    </a:lnTo>
                    <a:lnTo>
                      <a:pt x="304074" y="2029925"/>
                    </a:lnTo>
                    <a:lnTo>
                      <a:pt x="278651" y="2070659"/>
                    </a:lnTo>
                    <a:lnTo>
                      <a:pt x="239898" y="2098915"/>
                    </a:lnTo>
                    <a:lnTo>
                      <a:pt x="192884" y="2108040"/>
                    </a:lnTo>
                    <a:lnTo>
                      <a:pt x="166277" y="2108040"/>
                    </a:lnTo>
                    <a:lnTo>
                      <a:pt x="134452" y="2110978"/>
                    </a:lnTo>
                    <a:lnTo>
                      <a:pt x="79581" y="2134010"/>
                    </a:lnTo>
                    <a:lnTo>
                      <a:pt x="37611" y="2177657"/>
                    </a:lnTo>
                    <a:lnTo>
                      <a:pt x="15998" y="2233658"/>
                    </a:lnTo>
                    <a:lnTo>
                      <a:pt x="13298" y="2265627"/>
                    </a:lnTo>
                    <a:lnTo>
                      <a:pt x="15998" y="2298509"/>
                    </a:lnTo>
                    <a:lnTo>
                      <a:pt x="37611" y="2358836"/>
                    </a:lnTo>
                    <a:lnTo>
                      <a:pt x="79581" y="2405467"/>
                    </a:lnTo>
                    <a:lnTo>
                      <a:pt x="134452" y="2432526"/>
                    </a:lnTo>
                    <a:lnTo>
                      <a:pt x="166277" y="2436292"/>
                    </a:lnTo>
                    <a:lnTo>
                      <a:pt x="319257" y="2436292"/>
                    </a:lnTo>
                    <a:lnTo>
                      <a:pt x="381180" y="2427407"/>
                    </a:lnTo>
                    <a:lnTo>
                      <a:pt x="440646" y="2406052"/>
                    </a:lnTo>
                    <a:lnTo>
                      <a:pt x="495083" y="2375209"/>
                    </a:lnTo>
                    <a:lnTo>
                      <a:pt x="542067" y="2335216"/>
                    </a:lnTo>
                    <a:lnTo>
                      <a:pt x="581788" y="2288016"/>
                    </a:lnTo>
                    <a:lnTo>
                      <a:pt x="612400" y="2234109"/>
                    </a:lnTo>
                    <a:lnTo>
                      <a:pt x="632161" y="2174440"/>
                    </a:lnTo>
                    <a:lnTo>
                      <a:pt x="639467" y="2109736"/>
                    </a:lnTo>
                    <a:lnTo>
                      <a:pt x="639467" y="1639887"/>
                    </a:lnTo>
                    <a:lnTo>
                      <a:pt x="640792" y="1621739"/>
                    </a:lnTo>
                    <a:lnTo>
                      <a:pt x="663937" y="1572559"/>
                    </a:lnTo>
                    <a:lnTo>
                      <a:pt x="709522" y="1543967"/>
                    </a:lnTo>
                    <a:lnTo>
                      <a:pt x="728312" y="1541806"/>
                    </a:lnTo>
                    <a:lnTo>
                      <a:pt x="798143" y="1541806"/>
                    </a:lnTo>
                    <a:lnTo>
                      <a:pt x="829829" y="1539183"/>
                    </a:lnTo>
                    <a:lnTo>
                      <a:pt x="883871" y="1516786"/>
                    </a:lnTo>
                    <a:lnTo>
                      <a:pt x="924409" y="1471028"/>
                    </a:lnTo>
                    <a:lnTo>
                      <a:pt x="945201" y="1414514"/>
                    </a:lnTo>
                    <a:lnTo>
                      <a:pt x="947803" y="1382575"/>
                    </a:lnTo>
                    <a:lnTo>
                      <a:pt x="945201" y="1351300"/>
                    </a:lnTo>
                    <a:lnTo>
                      <a:pt x="924409" y="1299069"/>
                    </a:lnTo>
                    <a:lnTo>
                      <a:pt x="883871" y="1259348"/>
                    </a:lnTo>
                    <a:lnTo>
                      <a:pt x="829829" y="1240361"/>
                    </a:lnTo>
                    <a:lnTo>
                      <a:pt x="798143" y="1238171"/>
                    </a:lnTo>
                    <a:lnTo>
                      <a:pt x="761557" y="1238171"/>
                    </a:lnTo>
                    <a:lnTo>
                      <a:pt x="736319" y="1235578"/>
                    </a:lnTo>
                    <a:lnTo>
                      <a:pt x="692899" y="1215921"/>
                    </a:lnTo>
                    <a:lnTo>
                      <a:pt x="658228" y="1179955"/>
                    </a:lnTo>
                    <a:lnTo>
                      <a:pt x="641414" y="1133680"/>
                    </a:lnTo>
                    <a:lnTo>
                      <a:pt x="639467" y="1107788"/>
                    </a:lnTo>
                    <a:lnTo>
                      <a:pt x="639467" y="894601"/>
                    </a:lnTo>
                    <a:lnTo>
                      <a:pt x="652618" y="845152"/>
                    </a:lnTo>
                    <a:lnTo>
                      <a:pt x="692795" y="809881"/>
                    </a:lnTo>
                    <a:lnTo>
                      <a:pt x="728312" y="803242"/>
                    </a:lnTo>
                    <a:lnTo>
                      <a:pt x="798143" y="803242"/>
                    </a:lnTo>
                    <a:lnTo>
                      <a:pt x="829829" y="800092"/>
                    </a:lnTo>
                    <a:lnTo>
                      <a:pt x="883871" y="775381"/>
                    </a:lnTo>
                    <a:lnTo>
                      <a:pt x="924409" y="728839"/>
                    </a:lnTo>
                    <a:lnTo>
                      <a:pt x="945201" y="671166"/>
                    </a:lnTo>
                    <a:lnTo>
                      <a:pt x="947803" y="638964"/>
                    </a:lnTo>
                    <a:lnTo>
                      <a:pt x="945201" y="606801"/>
                    </a:lnTo>
                    <a:lnTo>
                      <a:pt x="924409" y="550660"/>
                    </a:lnTo>
                    <a:lnTo>
                      <a:pt x="883871" y="509163"/>
                    </a:lnTo>
                    <a:lnTo>
                      <a:pt x="829829" y="486267"/>
                    </a:lnTo>
                    <a:lnTo>
                      <a:pt x="798143" y="483189"/>
                    </a:lnTo>
                    <a:lnTo>
                      <a:pt x="761557" y="483189"/>
                    </a:lnTo>
                    <a:lnTo>
                      <a:pt x="736319" y="481351"/>
                    </a:lnTo>
                    <a:lnTo>
                      <a:pt x="692899" y="465020"/>
                    </a:lnTo>
                    <a:lnTo>
                      <a:pt x="658228" y="430568"/>
                    </a:lnTo>
                    <a:lnTo>
                      <a:pt x="641414" y="387630"/>
                    </a:lnTo>
                    <a:lnTo>
                      <a:pt x="639467" y="362502"/>
                    </a:lnTo>
                    <a:lnTo>
                      <a:pt x="639467" y="156309"/>
                    </a:lnTo>
                    <a:lnTo>
                      <a:pt x="636219" y="124412"/>
                    </a:lnTo>
                    <a:lnTo>
                      <a:pt x="611465" y="68703"/>
                    </a:lnTo>
                    <a:lnTo>
                      <a:pt x="566059" y="25254"/>
                    </a:lnTo>
                    <a:lnTo>
                      <a:pt x="508792" y="2805"/>
                    </a:lnTo>
                    <a:lnTo>
                      <a:pt x="476634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0" name="object 8"/>
              <p:cNvSpPr>
                <a:spLocks noChangeArrowheads="1"/>
              </p:cNvSpPr>
              <p:nvPr userDrawn="1"/>
            </p:nvSpPr>
            <p:spPr bwMode="auto">
              <a:xfrm>
                <a:off x="12174538" y="3443288"/>
                <a:ext cx="2033587" cy="2806700"/>
              </a:xfrm>
              <a:custGeom>
                <a:avLst/>
                <a:gdLst>
                  <a:gd name="T0" fmla="*/ 1609966 w 2033905"/>
                  <a:gd name="T1" fmla="*/ 2058797 h 2806700"/>
                  <a:gd name="T2" fmla="*/ 1609991 w 2033905"/>
                  <a:gd name="T3" fmla="*/ 2362441 h 2806700"/>
                  <a:gd name="T4" fmla="*/ 1578444 w 2033905"/>
                  <a:gd name="T5" fmla="*/ 2062302 h 2806700"/>
                  <a:gd name="T6" fmla="*/ 1485773 w 2033905"/>
                  <a:gd name="T7" fmla="*/ 2294763 h 2806700"/>
                  <a:gd name="T8" fmla="*/ 1732178 w 2033905"/>
                  <a:gd name="T9" fmla="*/ 2295194 h 2806700"/>
                  <a:gd name="T10" fmla="*/ 1939251 w 2033905"/>
                  <a:gd name="T11" fmla="*/ 1193800 h 2806700"/>
                  <a:gd name="T12" fmla="*/ 1766900 w 2033905"/>
                  <a:gd name="T13" fmla="*/ 1130300 h 2806700"/>
                  <a:gd name="T14" fmla="*/ 1730527 w 2033905"/>
                  <a:gd name="T15" fmla="*/ 952500 h 2806700"/>
                  <a:gd name="T16" fmla="*/ 1544942 w 2033905"/>
                  <a:gd name="T17" fmla="*/ 749300 h 2806700"/>
                  <a:gd name="T18" fmla="*/ 1437030 w 2033905"/>
                  <a:gd name="T19" fmla="*/ 1600200 h 2806700"/>
                  <a:gd name="T20" fmla="*/ 1204328 w 2033905"/>
                  <a:gd name="T21" fmla="*/ 1612900 h 2806700"/>
                  <a:gd name="T22" fmla="*/ 1193482 w 2033905"/>
                  <a:gd name="T23" fmla="*/ 1524000 h 2806700"/>
                  <a:gd name="T24" fmla="*/ 1420291 w 2033905"/>
                  <a:gd name="T25" fmla="*/ 1485900 h 2806700"/>
                  <a:gd name="T26" fmla="*/ 1439456 w 2033905"/>
                  <a:gd name="T27" fmla="*/ 736600 h 2806700"/>
                  <a:gd name="T28" fmla="*/ 1423530 w 2033905"/>
                  <a:gd name="T29" fmla="*/ 1181100 h 2806700"/>
                  <a:gd name="T30" fmla="*/ 1193139 w 2033905"/>
                  <a:gd name="T31" fmla="*/ 1130300 h 2806700"/>
                  <a:gd name="T32" fmla="*/ 1211541 w 2033905"/>
                  <a:gd name="T33" fmla="*/ 1054100 h 2806700"/>
                  <a:gd name="T34" fmla="*/ 1439329 w 2033905"/>
                  <a:gd name="T35" fmla="*/ 736600 h 2806700"/>
                  <a:gd name="T36" fmla="*/ 1194003 w 2033905"/>
                  <a:gd name="T37" fmla="*/ 685800 h 2806700"/>
                  <a:gd name="T38" fmla="*/ 1794687 w 2033905"/>
                  <a:gd name="T39" fmla="*/ 571500 h 2806700"/>
                  <a:gd name="T40" fmla="*/ 1914436 w 2033905"/>
                  <a:gd name="T41" fmla="*/ 457200 h 2806700"/>
                  <a:gd name="T42" fmla="*/ 1276794 w 2033905"/>
                  <a:gd name="T43" fmla="*/ 266700 h 2806700"/>
                  <a:gd name="T44" fmla="*/ 1194625 w 2033905"/>
                  <a:gd name="T45" fmla="*/ 177800 h 2806700"/>
                  <a:gd name="T46" fmla="*/ 1096949 w 2033905"/>
                  <a:gd name="T47" fmla="*/ 12700 h 2806700"/>
                  <a:gd name="T48" fmla="*/ 905916 w 2033905"/>
                  <a:gd name="T49" fmla="*/ 152400 h 2806700"/>
                  <a:gd name="T50" fmla="*/ 846226 w 2033905"/>
                  <a:gd name="T51" fmla="*/ 254000 h 2806700"/>
                  <a:gd name="T52" fmla="*/ 212852 w 2033905"/>
                  <a:gd name="T53" fmla="*/ 317500 h 2806700"/>
                  <a:gd name="T54" fmla="*/ 181660 w 2033905"/>
                  <a:gd name="T55" fmla="*/ 482600 h 2806700"/>
                  <a:gd name="T56" fmla="*/ 317601 w 2033905"/>
                  <a:gd name="T57" fmla="*/ 584200 h 2806700"/>
                  <a:gd name="T58" fmla="*/ 895604 w 2033905"/>
                  <a:gd name="T59" fmla="*/ 698500 h 2806700"/>
                  <a:gd name="T60" fmla="*/ 452272 w 2033905"/>
                  <a:gd name="T61" fmla="*/ 749300 h 2806700"/>
                  <a:gd name="T62" fmla="*/ 360832 w 2033905"/>
                  <a:gd name="T63" fmla="*/ 889000 h 2806700"/>
                  <a:gd name="T64" fmla="*/ 452272 w 2033905"/>
                  <a:gd name="T65" fmla="*/ 1028700 h 2806700"/>
                  <a:gd name="T66" fmla="*/ 905916 w 2033905"/>
                  <a:gd name="T67" fmla="*/ 1130300 h 2806700"/>
                  <a:gd name="T68" fmla="*/ 285584 w 2033905"/>
                  <a:gd name="T69" fmla="*/ 1193800 h 2806700"/>
                  <a:gd name="T70" fmla="*/ 191223 w 2033905"/>
                  <a:gd name="T71" fmla="*/ 1333500 h 2806700"/>
                  <a:gd name="T72" fmla="*/ 862914 w 2033905"/>
                  <a:gd name="T73" fmla="*/ 1485900 h 2806700"/>
                  <a:gd name="T74" fmla="*/ 905916 w 2033905"/>
                  <a:gd name="T75" fmla="*/ 1524000 h 2806700"/>
                  <a:gd name="T76" fmla="*/ 874191 w 2033905"/>
                  <a:gd name="T77" fmla="*/ 1612900 h 2806700"/>
                  <a:gd name="T78" fmla="*/ 360832 w 2033905"/>
                  <a:gd name="T79" fmla="*/ 1765300 h 2806700"/>
                  <a:gd name="T80" fmla="*/ 510489 w 2033905"/>
                  <a:gd name="T81" fmla="*/ 1905000 h 2806700"/>
                  <a:gd name="T82" fmla="*/ 890612 w 2033905"/>
                  <a:gd name="T83" fmla="*/ 2006600 h 2806700"/>
                  <a:gd name="T84" fmla="*/ 862076 w 2033905"/>
                  <a:gd name="T85" fmla="*/ 2451100 h 2806700"/>
                  <a:gd name="T86" fmla="*/ 654888 w 2033905"/>
                  <a:gd name="T87" fmla="*/ 2463800 h 2806700"/>
                  <a:gd name="T88" fmla="*/ 605624 w 2033905"/>
                  <a:gd name="T89" fmla="*/ 2425700 h 2806700"/>
                  <a:gd name="T90" fmla="*/ 548132 w 2033905"/>
                  <a:gd name="T91" fmla="*/ 2324100 h 2806700"/>
                  <a:gd name="T92" fmla="*/ 584923 w 2033905"/>
                  <a:gd name="T93" fmla="*/ 2133600 h 2806700"/>
                  <a:gd name="T94" fmla="*/ 367487 w 2033905"/>
                  <a:gd name="T95" fmla="*/ 2019300 h 2806700"/>
                  <a:gd name="T96" fmla="*/ 257606 w 2033905"/>
                  <a:gd name="T97" fmla="*/ 2209800 h 2806700"/>
                  <a:gd name="T98" fmla="*/ 100368 w 2033905"/>
                  <a:gd name="T99" fmla="*/ 2476500 h 2806700"/>
                  <a:gd name="T100" fmla="*/ 0 w 2033905"/>
                  <a:gd name="T101" fmla="*/ 2679700 h 2806700"/>
                  <a:gd name="T102" fmla="*/ 217805 w 2033905"/>
                  <a:gd name="T103" fmla="*/ 2794000 h 2806700"/>
                  <a:gd name="T104" fmla="*/ 351167 w 2033905"/>
                  <a:gd name="T105" fmla="*/ 2679700 h 2806700"/>
                  <a:gd name="T106" fmla="*/ 518896 w 2033905"/>
                  <a:gd name="T107" fmla="*/ 2730500 h 2806700"/>
                  <a:gd name="T108" fmla="*/ 1866519 w 2033905"/>
                  <a:gd name="T109" fmla="*/ 2794000 h 2806700"/>
                  <a:gd name="T110" fmla="*/ 1955787 w 2033905"/>
                  <a:gd name="T111" fmla="*/ 2667000 h 2806700"/>
                  <a:gd name="T112" fmla="*/ 1839709 w 2033905"/>
                  <a:gd name="T113" fmla="*/ 2514600 h 2806700"/>
                  <a:gd name="T114" fmla="*/ 1193139 w 2033905"/>
                  <a:gd name="T115" fmla="*/ 2362200 h 2806700"/>
                  <a:gd name="T116" fmla="*/ 1252270 w 2033905"/>
                  <a:gd name="T117" fmla="*/ 1930400 h 2806700"/>
                  <a:gd name="T118" fmla="*/ 1586318 w 2033905"/>
                  <a:gd name="T119" fmla="*/ 1879600 h 2806700"/>
                  <a:gd name="T120" fmla="*/ 1739912 w 2033905"/>
                  <a:gd name="T121" fmla="*/ 1663700 h 2806700"/>
                  <a:gd name="T122" fmla="*/ 1783549 w 2033905"/>
                  <a:gd name="T123" fmla="*/ 1524000 h 2806700"/>
                  <a:gd name="T124" fmla="*/ 1965147 w 2033905"/>
                  <a:gd name="T125" fmla="*/ 1460500 h 2806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3905" h="2806700">
                    <a:moveTo>
                      <a:pt x="1609966" y="2058797"/>
                    </a:moveTo>
                    <a:lnTo>
                      <a:pt x="1605572" y="2058797"/>
                    </a:lnTo>
                    <a:lnTo>
                      <a:pt x="1606638" y="2058936"/>
                    </a:lnTo>
                    <a:lnTo>
                      <a:pt x="1607756" y="2058962"/>
                    </a:lnTo>
                    <a:lnTo>
                      <a:pt x="1608899" y="2058936"/>
                    </a:lnTo>
                    <a:lnTo>
                      <a:pt x="1609966" y="2058797"/>
                    </a:lnTo>
                    <a:close/>
                  </a:path>
                  <a:path w="2033905" h="2806700">
                    <a:moveTo>
                      <a:pt x="1609991" y="2362441"/>
                    </a:moveTo>
                    <a:lnTo>
                      <a:pt x="1608937" y="2362301"/>
                    </a:lnTo>
                    <a:lnTo>
                      <a:pt x="1607807" y="2362289"/>
                    </a:lnTo>
                    <a:lnTo>
                      <a:pt x="1606677" y="2362301"/>
                    </a:lnTo>
                    <a:lnTo>
                      <a:pt x="1605597" y="2362441"/>
                    </a:lnTo>
                    <a:lnTo>
                      <a:pt x="1609991" y="2362441"/>
                    </a:lnTo>
                    <a:close/>
                  </a:path>
                  <a:path w="2033905" h="2806700">
                    <a:moveTo>
                      <a:pt x="1757438" y="2208123"/>
                    </a:moveTo>
                    <a:lnTo>
                      <a:pt x="1746211" y="2151672"/>
                    </a:lnTo>
                    <a:lnTo>
                      <a:pt x="1712544" y="2103526"/>
                    </a:lnTo>
                    <a:lnTo>
                      <a:pt x="1664474" y="2071039"/>
                    </a:lnTo>
                    <a:lnTo>
                      <a:pt x="1607756" y="2058962"/>
                    </a:lnTo>
                    <a:lnTo>
                      <a:pt x="1578444" y="2062302"/>
                    </a:lnTo>
                    <a:lnTo>
                      <a:pt x="1526895" y="2084666"/>
                    </a:lnTo>
                    <a:lnTo>
                      <a:pt x="1485773" y="2126069"/>
                    </a:lnTo>
                    <a:lnTo>
                      <a:pt x="1464157" y="2178037"/>
                    </a:lnTo>
                    <a:lnTo>
                      <a:pt x="1461465" y="2207031"/>
                    </a:lnTo>
                    <a:lnTo>
                      <a:pt x="1464157" y="2239048"/>
                    </a:lnTo>
                    <a:lnTo>
                      <a:pt x="1485773" y="2294763"/>
                    </a:lnTo>
                    <a:lnTo>
                      <a:pt x="1526908" y="2336647"/>
                    </a:lnTo>
                    <a:lnTo>
                      <a:pt x="1578483" y="2358974"/>
                    </a:lnTo>
                    <a:lnTo>
                      <a:pt x="1607807" y="2362289"/>
                    </a:lnTo>
                    <a:lnTo>
                      <a:pt x="1637220" y="2359025"/>
                    </a:lnTo>
                    <a:lnTo>
                      <a:pt x="1689608" y="2336901"/>
                    </a:lnTo>
                    <a:lnTo>
                      <a:pt x="1732178" y="2295194"/>
                    </a:lnTo>
                    <a:lnTo>
                      <a:pt x="1754632" y="2240013"/>
                    </a:lnTo>
                    <a:lnTo>
                      <a:pt x="1757438" y="2208123"/>
                    </a:lnTo>
                    <a:close/>
                  </a:path>
                  <a:path w="2033905" h="2806700">
                    <a:moveTo>
                      <a:pt x="2033638" y="1333500"/>
                    </a:moveTo>
                    <a:lnTo>
                      <a:pt x="2022411" y="1282700"/>
                    </a:lnTo>
                    <a:lnTo>
                      <a:pt x="1988743" y="1231900"/>
                    </a:lnTo>
                    <a:lnTo>
                      <a:pt x="1939251" y="1193800"/>
                    </a:lnTo>
                    <a:lnTo>
                      <a:pt x="1911083" y="1193800"/>
                    </a:lnTo>
                    <a:lnTo>
                      <a:pt x="1880641" y="1181100"/>
                    </a:lnTo>
                    <a:lnTo>
                      <a:pt x="1826272" y="1181100"/>
                    </a:lnTo>
                    <a:lnTo>
                      <a:pt x="1803488" y="1168400"/>
                    </a:lnTo>
                    <a:lnTo>
                      <a:pt x="1783549" y="1143000"/>
                    </a:lnTo>
                    <a:lnTo>
                      <a:pt x="1766900" y="1130300"/>
                    </a:lnTo>
                    <a:lnTo>
                      <a:pt x="1754098" y="1104900"/>
                    </a:lnTo>
                    <a:lnTo>
                      <a:pt x="1745869" y="1079500"/>
                    </a:lnTo>
                    <a:lnTo>
                      <a:pt x="1742960" y="1054100"/>
                    </a:lnTo>
                    <a:lnTo>
                      <a:pt x="1742960" y="1041400"/>
                    </a:lnTo>
                    <a:lnTo>
                      <a:pt x="1739912" y="990600"/>
                    </a:lnTo>
                    <a:lnTo>
                      <a:pt x="1730527" y="952500"/>
                    </a:lnTo>
                    <a:lnTo>
                      <a:pt x="1714411" y="901700"/>
                    </a:lnTo>
                    <a:lnTo>
                      <a:pt x="1691195" y="863600"/>
                    </a:lnTo>
                    <a:lnTo>
                      <a:pt x="1660486" y="825500"/>
                    </a:lnTo>
                    <a:lnTo>
                      <a:pt x="1624698" y="800100"/>
                    </a:lnTo>
                    <a:lnTo>
                      <a:pt x="1586318" y="774700"/>
                    </a:lnTo>
                    <a:lnTo>
                      <a:pt x="1544942" y="749300"/>
                    </a:lnTo>
                    <a:lnTo>
                      <a:pt x="1500174" y="736600"/>
                    </a:lnTo>
                    <a:lnTo>
                      <a:pt x="1439456" y="736600"/>
                    </a:lnTo>
                    <a:lnTo>
                      <a:pt x="1439456" y="1524000"/>
                    </a:lnTo>
                    <a:lnTo>
                      <a:pt x="1439456" y="1587500"/>
                    </a:lnTo>
                    <a:lnTo>
                      <a:pt x="1439062" y="1587500"/>
                    </a:lnTo>
                    <a:lnTo>
                      <a:pt x="1437030" y="1600200"/>
                    </a:lnTo>
                    <a:lnTo>
                      <a:pt x="1432191" y="1612900"/>
                    </a:lnTo>
                    <a:lnTo>
                      <a:pt x="1426070" y="1612900"/>
                    </a:lnTo>
                    <a:lnTo>
                      <a:pt x="1420291" y="1625600"/>
                    </a:lnTo>
                    <a:lnTo>
                      <a:pt x="1218653" y="1625600"/>
                    </a:lnTo>
                    <a:lnTo>
                      <a:pt x="1211541" y="1612900"/>
                    </a:lnTo>
                    <a:lnTo>
                      <a:pt x="1204328" y="1612900"/>
                    </a:lnTo>
                    <a:lnTo>
                      <a:pt x="1198372" y="1600200"/>
                    </a:lnTo>
                    <a:lnTo>
                      <a:pt x="1194993" y="1587500"/>
                    </a:lnTo>
                    <a:lnTo>
                      <a:pt x="1193482" y="1587500"/>
                    </a:lnTo>
                    <a:lnTo>
                      <a:pt x="1193139" y="1574800"/>
                    </a:lnTo>
                    <a:lnTo>
                      <a:pt x="1193139" y="1524000"/>
                    </a:lnTo>
                    <a:lnTo>
                      <a:pt x="1193482" y="1524000"/>
                    </a:lnTo>
                    <a:lnTo>
                      <a:pt x="1194993" y="1511300"/>
                    </a:lnTo>
                    <a:lnTo>
                      <a:pt x="1198372" y="1511300"/>
                    </a:lnTo>
                    <a:lnTo>
                      <a:pt x="1204328" y="1498600"/>
                    </a:lnTo>
                    <a:lnTo>
                      <a:pt x="1211541" y="1498600"/>
                    </a:lnTo>
                    <a:lnTo>
                      <a:pt x="1218653" y="1485900"/>
                    </a:lnTo>
                    <a:lnTo>
                      <a:pt x="1420291" y="1485900"/>
                    </a:lnTo>
                    <a:lnTo>
                      <a:pt x="1426070" y="1498600"/>
                    </a:lnTo>
                    <a:lnTo>
                      <a:pt x="1432191" y="1498600"/>
                    </a:lnTo>
                    <a:lnTo>
                      <a:pt x="1437030" y="1511300"/>
                    </a:lnTo>
                    <a:lnTo>
                      <a:pt x="1439062" y="1511300"/>
                    </a:lnTo>
                    <a:lnTo>
                      <a:pt x="1439456" y="1524000"/>
                    </a:lnTo>
                    <a:lnTo>
                      <a:pt x="1439456" y="736600"/>
                    </a:lnTo>
                    <a:lnTo>
                      <a:pt x="1439329" y="736600"/>
                    </a:lnTo>
                    <a:lnTo>
                      <a:pt x="1439329" y="1092200"/>
                    </a:lnTo>
                    <a:lnTo>
                      <a:pt x="1439329" y="1130300"/>
                    </a:lnTo>
                    <a:lnTo>
                      <a:pt x="1438338" y="1155700"/>
                    </a:lnTo>
                    <a:lnTo>
                      <a:pt x="1433842" y="1168400"/>
                    </a:lnTo>
                    <a:lnTo>
                      <a:pt x="1423530" y="1181100"/>
                    </a:lnTo>
                    <a:lnTo>
                      <a:pt x="1211541" y="1181100"/>
                    </a:lnTo>
                    <a:lnTo>
                      <a:pt x="1204328" y="1168400"/>
                    </a:lnTo>
                    <a:lnTo>
                      <a:pt x="1198372" y="1155700"/>
                    </a:lnTo>
                    <a:lnTo>
                      <a:pt x="1194993" y="1155700"/>
                    </a:lnTo>
                    <a:lnTo>
                      <a:pt x="1193482" y="1143000"/>
                    </a:lnTo>
                    <a:lnTo>
                      <a:pt x="1193139" y="1130300"/>
                    </a:lnTo>
                    <a:lnTo>
                      <a:pt x="1193139" y="1092200"/>
                    </a:lnTo>
                    <a:lnTo>
                      <a:pt x="1193482" y="1079500"/>
                    </a:lnTo>
                    <a:lnTo>
                      <a:pt x="1194993" y="1066800"/>
                    </a:lnTo>
                    <a:lnTo>
                      <a:pt x="1198372" y="1066800"/>
                    </a:lnTo>
                    <a:lnTo>
                      <a:pt x="1204328" y="1054100"/>
                    </a:lnTo>
                    <a:lnTo>
                      <a:pt x="1211541" y="1054100"/>
                    </a:lnTo>
                    <a:lnTo>
                      <a:pt x="1218653" y="1041400"/>
                    </a:lnTo>
                    <a:lnTo>
                      <a:pt x="1423530" y="1041400"/>
                    </a:lnTo>
                    <a:lnTo>
                      <a:pt x="1433842" y="1054100"/>
                    </a:lnTo>
                    <a:lnTo>
                      <a:pt x="1438338" y="1066800"/>
                    </a:lnTo>
                    <a:lnTo>
                      <a:pt x="1439329" y="1092200"/>
                    </a:lnTo>
                    <a:lnTo>
                      <a:pt x="1439329" y="736600"/>
                    </a:lnTo>
                    <a:lnTo>
                      <a:pt x="1236510" y="736600"/>
                    </a:lnTo>
                    <a:lnTo>
                      <a:pt x="1224305" y="723900"/>
                    </a:lnTo>
                    <a:lnTo>
                      <a:pt x="1212646" y="711200"/>
                    </a:lnTo>
                    <a:lnTo>
                      <a:pt x="1203045" y="698500"/>
                    </a:lnTo>
                    <a:lnTo>
                      <a:pt x="1197063" y="698500"/>
                    </a:lnTo>
                    <a:lnTo>
                      <a:pt x="1194003" y="685800"/>
                    </a:lnTo>
                    <a:lnTo>
                      <a:pt x="1193139" y="660400"/>
                    </a:lnTo>
                    <a:lnTo>
                      <a:pt x="1193139" y="647700"/>
                    </a:lnTo>
                    <a:lnTo>
                      <a:pt x="1203045" y="609600"/>
                    </a:lnTo>
                    <a:lnTo>
                      <a:pt x="1224305" y="584200"/>
                    </a:lnTo>
                    <a:lnTo>
                      <a:pt x="1764258" y="584200"/>
                    </a:lnTo>
                    <a:lnTo>
                      <a:pt x="1794687" y="571500"/>
                    </a:lnTo>
                    <a:lnTo>
                      <a:pt x="1822856" y="571500"/>
                    </a:lnTo>
                    <a:lnTo>
                      <a:pt x="1848751" y="546100"/>
                    </a:lnTo>
                    <a:lnTo>
                      <a:pt x="1872335" y="533400"/>
                    </a:lnTo>
                    <a:lnTo>
                      <a:pt x="1891982" y="508000"/>
                    </a:lnTo>
                    <a:lnTo>
                      <a:pt x="1906016" y="482600"/>
                    </a:lnTo>
                    <a:lnTo>
                      <a:pt x="1914436" y="457200"/>
                    </a:lnTo>
                    <a:lnTo>
                      <a:pt x="1917242" y="431800"/>
                    </a:lnTo>
                    <a:lnTo>
                      <a:pt x="1914436" y="393700"/>
                    </a:lnTo>
                    <a:lnTo>
                      <a:pt x="1891982" y="342900"/>
                    </a:lnTo>
                    <a:lnTo>
                      <a:pt x="1848751" y="292100"/>
                    </a:lnTo>
                    <a:lnTo>
                      <a:pt x="1794687" y="266700"/>
                    </a:lnTo>
                    <a:lnTo>
                      <a:pt x="1276794" y="266700"/>
                    </a:lnTo>
                    <a:lnTo>
                      <a:pt x="1257287" y="254000"/>
                    </a:lnTo>
                    <a:lnTo>
                      <a:pt x="1239469" y="254000"/>
                    </a:lnTo>
                    <a:lnTo>
                      <a:pt x="1222616" y="241300"/>
                    </a:lnTo>
                    <a:lnTo>
                      <a:pt x="1208659" y="215900"/>
                    </a:lnTo>
                    <a:lnTo>
                      <a:pt x="1199553" y="203200"/>
                    </a:lnTo>
                    <a:lnTo>
                      <a:pt x="1194625" y="177800"/>
                    </a:lnTo>
                    <a:lnTo>
                      <a:pt x="1193139" y="165100"/>
                    </a:lnTo>
                    <a:lnTo>
                      <a:pt x="1193139" y="152400"/>
                    </a:lnTo>
                    <a:lnTo>
                      <a:pt x="1189837" y="127000"/>
                    </a:lnTo>
                    <a:lnTo>
                      <a:pt x="1180426" y="88900"/>
                    </a:lnTo>
                    <a:lnTo>
                      <a:pt x="1146136" y="38100"/>
                    </a:lnTo>
                    <a:lnTo>
                      <a:pt x="1096949" y="12700"/>
                    </a:lnTo>
                    <a:lnTo>
                      <a:pt x="1068451" y="0"/>
                    </a:lnTo>
                    <a:lnTo>
                      <a:pt x="1008849" y="0"/>
                    </a:lnTo>
                    <a:lnTo>
                      <a:pt x="961732" y="25400"/>
                    </a:lnTo>
                    <a:lnTo>
                      <a:pt x="922743" y="63500"/>
                    </a:lnTo>
                    <a:lnTo>
                      <a:pt x="907237" y="127000"/>
                    </a:lnTo>
                    <a:lnTo>
                      <a:pt x="905916" y="152400"/>
                    </a:lnTo>
                    <a:lnTo>
                      <a:pt x="905916" y="165100"/>
                    </a:lnTo>
                    <a:lnTo>
                      <a:pt x="902411" y="177800"/>
                    </a:lnTo>
                    <a:lnTo>
                      <a:pt x="893102" y="203200"/>
                    </a:lnTo>
                    <a:lnTo>
                      <a:pt x="879856" y="215900"/>
                    </a:lnTo>
                    <a:lnTo>
                      <a:pt x="864501" y="241300"/>
                    </a:lnTo>
                    <a:lnTo>
                      <a:pt x="846226" y="254000"/>
                    </a:lnTo>
                    <a:lnTo>
                      <a:pt x="824255" y="254000"/>
                    </a:lnTo>
                    <a:lnTo>
                      <a:pt x="800404" y="266700"/>
                    </a:lnTo>
                    <a:lnTo>
                      <a:pt x="287350" y="266700"/>
                    </a:lnTo>
                    <a:lnTo>
                      <a:pt x="259816" y="279400"/>
                    </a:lnTo>
                    <a:lnTo>
                      <a:pt x="234975" y="292100"/>
                    </a:lnTo>
                    <a:lnTo>
                      <a:pt x="212852" y="317500"/>
                    </a:lnTo>
                    <a:lnTo>
                      <a:pt x="194640" y="330200"/>
                    </a:lnTo>
                    <a:lnTo>
                      <a:pt x="181660" y="368300"/>
                    </a:lnTo>
                    <a:lnTo>
                      <a:pt x="173875" y="393700"/>
                    </a:lnTo>
                    <a:lnTo>
                      <a:pt x="171284" y="419100"/>
                    </a:lnTo>
                    <a:lnTo>
                      <a:pt x="173875" y="457200"/>
                    </a:lnTo>
                    <a:lnTo>
                      <a:pt x="181660" y="482600"/>
                    </a:lnTo>
                    <a:lnTo>
                      <a:pt x="194640" y="508000"/>
                    </a:lnTo>
                    <a:lnTo>
                      <a:pt x="212852" y="533400"/>
                    </a:lnTo>
                    <a:lnTo>
                      <a:pt x="234975" y="546100"/>
                    </a:lnTo>
                    <a:lnTo>
                      <a:pt x="259816" y="571500"/>
                    </a:lnTo>
                    <a:lnTo>
                      <a:pt x="287350" y="571500"/>
                    </a:lnTo>
                    <a:lnTo>
                      <a:pt x="317601" y="584200"/>
                    </a:lnTo>
                    <a:lnTo>
                      <a:pt x="861187" y="584200"/>
                    </a:lnTo>
                    <a:lnTo>
                      <a:pt x="895604" y="622300"/>
                    </a:lnTo>
                    <a:lnTo>
                      <a:pt x="905916" y="647700"/>
                    </a:lnTo>
                    <a:lnTo>
                      <a:pt x="905916" y="660400"/>
                    </a:lnTo>
                    <a:lnTo>
                      <a:pt x="903033" y="685800"/>
                    </a:lnTo>
                    <a:lnTo>
                      <a:pt x="895604" y="698500"/>
                    </a:lnTo>
                    <a:lnTo>
                      <a:pt x="885469" y="698500"/>
                    </a:lnTo>
                    <a:lnTo>
                      <a:pt x="874483" y="711200"/>
                    </a:lnTo>
                    <a:lnTo>
                      <a:pt x="861187" y="723900"/>
                    </a:lnTo>
                    <a:lnTo>
                      <a:pt x="844194" y="736600"/>
                    </a:lnTo>
                    <a:lnTo>
                      <a:pt x="480136" y="736600"/>
                    </a:lnTo>
                    <a:lnTo>
                      <a:pt x="452272" y="749300"/>
                    </a:lnTo>
                    <a:lnTo>
                      <a:pt x="426910" y="762000"/>
                    </a:lnTo>
                    <a:lnTo>
                      <a:pt x="404063" y="787400"/>
                    </a:lnTo>
                    <a:lnTo>
                      <a:pt x="385140" y="800100"/>
                    </a:lnTo>
                    <a:lnTo>
                      <a:pt x="371640" y="825500"/>
                    </a:lnTo>
                    <a:lnTo>
                      <a:pt x="363537" y="863600"/>
                    </a:lnTo>
                    <a:lnTo>
                      <a:pt x="360832" y="889000"/>
                    </a:lnTo>
                    <a:lnTo>
                      <a:pt x="363537" y="914400"/>
                    </a:lnTo>
                    <a:lnTo>
                      <a:pt x="371640" y="952500"/>
                    </a:lnTo>
                    <a:lnTo>
                      <a:pt x="385140" y="977900"/>
                    </a:lnTo>
                    <a:lnTo>
                      <a:pt x="404063" y="990600"/>
                    </a:lnTo>
                    <a:lnTo>
                      <a:pt x="426910" y="1016000"/>
                    </a:lnTo>
                    <a:lnTo>
                      <a:pt x="452272" y="1028700"/>
                    </a:lnTo>
                    <a:lnTo>
                      <a:pt x="480136" y="1041400"/>
                    </a:lnTo>
                    <a:lnTo>
                      <a:pt x="863155" y="1041400"/>
                    </a:lnTo>
                    <a:lnTo>
                      <a:pt x="884453" y="1054100"/>
                    </a:lnTo>
                    <a:lnTo>
                      <a:pt x="899934" y="1066800"/>
                    </a:lnTo>
                    <a:lnTo>
                      <a:pt x="905916" y="1092200"/>
                    </a:lnTo>
                    <a:lnTo>
                      <a:pt x="905916" y="1130300"/>
                    </a:lnTo>
                    <a:lnTo>
                      <a:pt x="899934" y="1155700"/>
                    </a:lnTo>
                    <a:lnTo>
                      <a:pt x="884453" y="1168400"/>
                    </a:lnTo>
                    <a:lnTo>
                      <a:pt x="863155" y="1181100"/>
                    </a:lnTo>
                    <a:lnTo>
                      <a:pt x="344208" y="1181100"/>
                    </a:lnTo>
                    <a:lnTo>
                      <a:pt x="313753" y="1193800"/>
                    </a:lnTo>
                    <a:lnTo>
                      <a:pt x="285584" y="1193800"/>
                    </a:lnTo>
                    <a:lnTo>
                      <a:pt x="259715" y="1206500"/>
                    </a:lnTo>
                    <a:lnTo>
                      <a:pt x="236131" y="1231900"/>
                    </a:lnTo>
                    <a:lnTo>
                      <a:pt x="216484" y="1244600"/>
                    </a:lnTo>
                    <a:lnTo>
                      <a:pt x="202450" y="1270000"/>
                    </a:lnTo>
                    <a:lnTo>
                      <a:pt x="194030" y="1308100"/>
                    </a:lnTo>
                    <a:lnTo>
                      <a:pt x="191223" y="1333500"/>
                    </a:lnTo>
                    <a:lnTo>
                      <a:pt x="194030" y="1358900"/>
                    </a:lnTo>
                    <a:lnTo>
                      <a:pt x="202450" y="1397000"/>
                    </a:lnTo>
                    <a:lnTo>
                      <a:pt x="236131" y="1447800"/>
                    </a:lnTo>
                    <a:lnTo>
                      <a:pt x="285584" y="1473200"/>
                    </a:lnTo>
                    <a:lnTo>
                      <a:pt x="313753" y="1485900"/>
                    </a:lnTo>
                    <a:lnTo>
                      <a:pt x="862914" y="1485900"/>
                    </a:lnTo>
                    <a:lnTo>
                      <a:pt x="874191" y="1498600"/>
                    </a:lnTo>
                    <a:lnTo>
                      <a:pt x="882802" y="1498600"/>
                    </a:lnTo>
                    <a:lnTo>
                      <a:pt x="890130" y="1511300"/>
                    </a:lnTo>
                    <a:lnTo>
                      <a:pt x="897674" y="1511300"/>
                    </a:lnTo>
                    <a:lnTo>
                      <a:pt x="903554" y="1524000"/>
                    </a:lnTo>
                    <a:lnTo>
                      <a:pt x="905916" y="1524000"/>
                    </a:lnTo>
                    <a:lnTo>
                      <a:pt x="905916" y="1574800"/>
                    </a:lnTo>
                    <a:lnTo>
                      <a:pt x="903554" y="1587500"/>
                    </a:lnTo>
                    <a:lnTo>
                      <a:pt x="897674" y="1587500"/>
                    </a:lnTo>
                    <a:lnTo>
                      <a:pt x="890130" y="1600200"/>
                    </a:lnTo>
                    <a:lnTo>
                      <a:pt x="882802" y="1612900"/>
                    </a:lnTo>
                    <a:lnTo>
                      <a:pt x="874191" y="1612900"/>
                    </a:lnTo>
                    <a:lnTo>
                      <a:pt x="862914" y="1625600"/>
                    </a:lnTo>
                    <a:lnTo>
                      <a:pt x="480136" y="1625600"/>
                    </a:lnTo>
                    <a:lnTo>
                      <a:pt x="452272" y="1638300"/>
                    </a:lnTo>
                    <a:lnTo>
                      <a:pt x="404063" y="1663700"/>
                    </a:lnTo>
                    <a:lnTo>
                      <a:pt x="371640" y="1714500"/>
                    </a:lnTo>
                    <a:lnTo>
                      <a:pt x="360832" y="1765300"/>
                    </a:lnTo>
                    <a:lnTo>
                      <a:pt x="363537" y="1790700"/>
                    </a:lnTo>
                    <a:lnTo>
                      <a:pt x="385140" y="1841500"/>
                    </a:lnTo>
                    <a:lnTo>
                      <a:pt x="426910" y="1879600"/>
                    </a:lnTo>
                    <a:lnTo>
                      <a:pt x="452272" y="1892300"/>
                    </a:lnTo>
                    <a:lnTo>
                      <a:pt x="480136" y="1892300"/>
                    </a:lnTo>
                    <a:lnTo>
                      <a:pt x="510489" y="1905000"/>
                    </a:lnTo>
                    <a:lnTo>
                      <a:pt x="773595" y="1905000"/>
                    </a:lnTo>
                    <a:lnTo>
                      <a:pt x="803465" y="1917700"/>
                    </a:lnTo>
                    <a:lnTo>
                      <a:pt x="831049" y="1930400"/>
                    </a:lnTo>
                    <a:lnTo>
                      <a:pt x="854532" y="1955800"/>
                    </a:lnTo>
                    <a:lnTo>
                      <a:pt x="874242" y="1968500"/>
                    </a:lnTo>
                    <a:lnTo>
                      <a:pt x="890612" y="2006600"/>
                    </a:lnTo>
                    <a:lnTo>
                      <a:pt x="901788" y="2032000"/>
                    </a:lnTo>
                    <a:lnTo>
                      <a:pt x="905916" y="2057400"/>
                    </a:lnTo>
                    <a:lnTo>
                      <a:pt x="905916" y="2349500"/>
                    </a:lnTo>
                    <a:lnTo>
                      <a:pt x="900430" y="2387600"/>
                    </a:lnTo>
                    <a:lnTo>
                      <a:pt x="885202" y="2425700"/>
                    </a:lnTo>
                    <a:lnTo>
                      <a:pt x="862076" y="2451100"/>
                    </a:lnTo>
                    <a:lnTo>
                      <a:pt x="832916" y="2463800"/>
                    </a:lnTo>
                    <a:lnTo>
                      <a:pt x="797433" y="2489200"/>
                    </a:lnTo>
                    <a:lnTo>
                      <a:pt x="725881" y="2489200"/>
                    </a:lnTo>
                    <a:lnTo>
                      <a:pt x="691654" y="2476500"/>
                    </a:lnTo>
                    <a:lnTo>
                      <a:pt x="673684" y="2476500"/>
                    </a:lnTo>
                    <a:lnTo>
                      <a:pt x="654888" y="2463800"/>
                    </a:lnTo>
                    <a:lnTo>
                      <a:pt x="648131" y="2463800"/>
                    </a:lnTo>
                    <a:lnTo>
                      <a:pt x="641413" y="2451100"/>
                    </a:lnTo>
                    <a:lnTo>
                      <a:pt x="625944" y="2451100"/>
                    </a:lnTo>
                    <a:lnTo>
                      <a:pt x="620864" y="2438400"/>
                    </a:lnTo>
                    <a:lnTo>
                      <a:pt x="610730" y="2438400"/>
                    </a:lnTo>
                    <a:lnTo>
                      <a:pt x="605624" y="2425700"/>
                    </a:lnTo>
                    <a:lnTo>
                      <a:pt x="600583" y="2425700"/>
                    </a:lnTo>
                    <a:lnTo>
                      <a:pt x="583819" y="2400300"/>
                    </a:lnTo>
                    <a:lnTo>
                      <a:pt x="570141" y="2387600"/>
                    </a:lnTo>
                    <a:lnTo>
                      <a:pt x="559600" y="2362200"/>
                    </a:lnTo>
                    <a:lnTo>
                      <a:pt x="552208" y="2349500"/>
                    </a:lnTo>
                    <a:lnTo>
                      <a:pt x="548132" y="2324100"/>
                    </a:lnTo>
                    <a:lnTo>
                      <a:pt x="547585" y="2298700"/>
                    </a:lnTo>
                    <a:lnTo>
                      <a:pt x="550583" y="2273300"/>
                    </a:lnTo>
                    <a:lnTo>
                      <a:pt x="557136" y="2247900"/>
                    </a:lnTo>
                    <a:lnTo>
                      <a:pt x="577037" y="2197100"/>
                    </a:lnTo>
                    <a:lnTo>
                      <a:pt x="583996" y="2171700"/>
                    </a:lnTo>
                    <a:lnTo>
                      <a:pt x="584923" y="2133600"/>
                    </a:lnTo>
                    <a:lnTo>
                      <a:pt x="568718" y="2082800"/>
                    </a:lnTo>
                    <a:lnTo>
                      <a:pt x="533361" y="2032000"/>
                    </a:lnTo>
                    <a:lnTo>
                      <a:pt x="483895" y="2006600"/>
                    </a:lnTo>
                    <a:lnTo>
                      <a:pt x="454164" y="2006600"/>
                    </a:lnTo>
                    <a:lnTo>
                      <a:pt x="424853" y="1993900"/>
                    </a:lnTo>
                    <a:lnTo>
                      <a:pt x="367487" y="2019300"/>
                    </a:lnTo>
                    <a:lnTo>
                      <a:pt x="341693" y="2032000"/>
                    </a:lnTo>
                    <a:lnTo>
                      <a:pt x="320903" y="2057400"/>
                    </a:lnTo>
                    <a:lnTo>
                      <a:pt x="305117" y="2070100"/>
                    </a:lnTo>
                    <a:lnTo>
                      <a:pt x="294322" y="2108200"/>
                    </a:lnTo>
                    <a:lnTo>
                      <a:pt x="277164" y="2159000"/>
                    </a:lnTo>
                    <a:lnTo>
                      <a:pt x="257606" y="2209800"/>
                    </a:lnTo>
                    <a:lnTo>
                      <a:pt x="235661" y="2247900"/>
                    </a:lnTo>
                    <a:lnTo>
                      <a:pt x="211315" y="2298700"/>
                    </a:lnTo>
                    <a:lnTo>
                      <a:pt x="184581" y="2349500"/>
                    </a:lnTo>
                    <a:lnTo>
                      <a:pt x="158369" y="2387600"/>
                    </a:lnTo>
                    <a:lnTo>
                      <a:pt x="130289" y="2438400"/>
                    </a:lnTo>
                    <a:lnTo>
                      <a:pt x="100368" y="2476500"/>
                    </a:lnTo>
                    <a:lnTo>
                      <a:pt x="68567" y="2527300"/>
                    </a:lnTo>
                    <a:lnTo>
                      <a:pt x="34925" y="2565400"/>
                    </a:lnTo>
                    <a:lnTo>
                      <a:pt x="17767" y="2590800"/>
                    </a:lnTo>
                    <a:lnTo>
                      <a:pt x="6235" y="2616200"/>
                    </a:lnTo>
                    <a:lnTo>
                      <a:pt x="317" y="2654300"/>
                    </a:lnTo>
                    <a:lnTo>
                      <a:pt x="0" y="2679700"/>
                    </a:lnTo>
                    <a:lnTo>
                      <a:pt x="5092" y="2705100"/>
                    </a:lnTo>
                    <a:lnTo>
                      <a:pt x="30861" y="2755900"/>
                    </a:lnTo>
                    <a:lnTo>
                      <a:pt x="75869" y="2794000"/>
                    </a:lnTo>
                    <a:lnTo>
                      <a:pt x="102260" y="2806700"/>
                    </a:lnTo>
                    <a:lnTo>
                      <a:pt x="191211" y="2806700"/>
                    </a:lnTo>
                    <a:lnTo>
                      <a:pt x="217805" y="2794000"/>
                    </a:lnTo>
                    <a:lnTo>
                      <a:pt x="241096" y="2781300"/>
                    </a:lnTo>
                    <a:lnTo>
                      <a:pt x="261086" y="2755900"/>
                    </a:lnTo>
                    <a:lnTo>
                      <a:pt x="300977" y="2717800"/>
                    </a:lnTo>
                    <a:lnTo>
                      <a:pt x="315417" y="2692400"/>
                    </a:lnTo>
                    <a:lnTo>
                      <a:pt x="332143" y="2679700"/>
                    </a:lnTo>
                    <a:lnTo>
                      <a:pt x="351167" y="2679700"/>
                    </a:lnTo>
                    <a:lnTo>
                      <a:pt x="372465" y="2667000"/>
                    </a:lnTo>
                    <a:lnTo>
                      <a:pt x="415277" y="2667000"/>
                    </a:lnTo>
                    <a:lnTo>
                      <a:pt x="435140" y="2679700"/>
                    </a:lnTo>
                    <a:lnTo>
                      <a:pt x="453961" y="2692400"/>
                    </a:lnTo>
                    <a:lnTo>
                      <a:pt x="477240" y="2705100"/>
                    </a:lnTo>
                    <a:lnTo>
                      <a:pt x="518896" y="2730500"/>
                    </a:lnTo>
                    <a:lnTo>
                      <a:pt x="562190" y="2755900"/>
                    </a:lnTo>
                    <a:lnTo>
                      <a:pt x="653681" y="2781300"/>
                    </a:lnTo>
                    <a:lnTo>
                      <a:pt x="751700" y="2806700"/>
                    </a:lnTo>
                    <a:lnTo>
                      <a:pt x="1810829" y="2806700"/>
                    </a:lnTo>
                    <a:lnTo>
                      <a:pt x="1839709" y="2794000"/>
                    </a:lnTo>
                    <a:lnTo>
                      <a:pt x="1866519" y="2794000"/>
                    </a:lnTo>
                    <a:lnTo>
                      <a:pt x="1891245" y="2781300"/>
                    </a:lnTo>
                    <a:lnTo>
                      <a:pt x="1913915" y="2755900"/>
                    </a:lnTo>
                    <a:lnTo>
                      <a:pt x="1932813" y="2743200"/>
                    </a:lnTo>
                    <a:lnTo>
                      <a:pt x="1946325" y="2717800"/>
                    </a:lnTo>
                    <a:lnTo>
                      <a:pt x="1954428" y="2679700"/>
                    </a:lnTo>
                    <a:lnTo>
                      <a:pt x="1955787" y="2667000"/>
                    </a:lnTo>
                    <a:lnTo>
                      <a:pt x="1957133" y="2654300"/>
                    </a:lnTo>
                    <a:lnTo>
                      <a:pt x="1954428" y="2628900"/>
                    </a:lnTo>
                    <a:lnTo>
                      <a:pt x="1932813" y="2578100"/>
                    </a:lnTo>
                    <a:lnTo>
                      <a:pt x="1891245" y="2527300"/>
                    </a:lnTo>
                    <a:lnTo>
                      <a:pt x="1866519" y="2514600"/>
                    </a:lnTo>
                    <a:lnTo>
                      <a:pt x="1839709" y="2514600"/>
                    </a:lnTo>
                    <a:lnTo>
                      <a:pt x="1810829" y="2501900"/>
                    </a:lnTo>
                    <a:lnTo>
                      <a:pt x="1275181" y="2501900"/>
                    </a:lnTo>
                    <a:lnTo>
                      <a:pt x="1252270" y="2489200"/>
                    </a:lnTo>
                    <a:lnTo>
                      <a:pt x="1213319" y="2438400"/>
                    </a:lnTo>
                    <a:lnTo>
                      <a:pt x="1195146" y="2387600"/>
                    </a:lnTo>
                    <a:lnTo>
                      <a:pt x="1193139" y="2362200"/>
                    </a:lnTo>
                    <a:lnTo>
                      <a:pt x="1193139" y="2057400"/>
                    </a:lnTo>
                    <a:lnTo>
                      <a:pt x="1195146" y="2032000"/>
                    </a:lnTo>
                    <a:lnTo>
                      <a:pt x="1201635" y="2006600"/>
                    </a:lnTo>
                    <a:lnTo>
                      <a:pt x="1213319" y="1968500"/>
                    </a:lnTo>
                    <a:lnTo>
                      <a:pt x="1230934" y="1955800"/>
                    </a:lnTo>
                    <a:lnTo>
                      <a:pt x="1252270" y="1930400"/>
                    </a:lnTo>
                    <a:lnTo>
                      <a:pt x="1275181" y="1917700"/>
                    </a:lnTo>
                    <a:lnTo>
                      <a:pt x="1300391" y="1905000"/>
                    </a:lnTo>
                    <a:lnTo>
                      <a:pt x="1451648" y="1905000"/>
                    </a:lnTo>
                    <a:lnTo>
                      <a:pt x="1500174" y="1892300"/>
                    </a:lnTo>
                    <a:lnTo>
                      <a:pt x="1544942" y="1892300"/>
                    </a:lnTo>
                    <a:lnTo>
                      <a:pt x="1586318" y="1879600"/>
                    </a:lnTo>
                    <a:lnTo>
                      <a:pt x="1624698" y="1854200"/>
                    </a:lnTo>
                    <a:lnTo>
                      <a:pt x="1660486" y="1816100"/>
                    </a:lnTo>
                    <a:lnTo>
                      <a:pt x="1691195" y="1790700"/>
                    </a:lnTo>
                    <a:lnTo>
                      <a:pt x="1714411" y="1752600"/>
                    </a:lnTo>
                    <a:lnTo>
                      <a:pt x="1730527" y="1714500"/>
                    </a:lnTo>
                    <a:lnTo>
                      <a:pt x="1739912" y="1663700"/>
                    </a:lnTo>
                    <a:lnTo>
                      <a:pt x="1742960" y="1612900"/>
                    </a:lnTo>
                    <a:lnTo>
                      <a:pt x="1742960" y="1600200"/>
                    </a:lnTo>
                    <a:lnTo>
                      <a:pt x="1745869" y="1574800"/>
                    </a:lnTo>
                    <a:lnTo>
                      <a:pt x="1754098" y="1562100"/>
                    </a:lnTo>
                    <a:lnTo>
                      <a:pt x="1766900" y="1536700"/>
                    </a:lnTo>
                    <a:lnTo>
                      <a:pt x="1783549" y="1524000"/>
                    </a:lnTo>
                    <a:lnTo>
                      <a:pt x="1803488" y="1511300"/>
                    </a:lnTo>
                    <a:lnTo>
                      <a:pt x="1826272" y="1498600"/>
                    </a:lnTo>
                    <a:lnTo>
                      <a:pt x="1851126" y="1485900"/>
                    </a:lnTo>
                    <a:lnTo>
                      <a:pt x="1911083" y="1485900"/>
                    </a:lnTo>
                    <a:lnTo>
                      <a:pt x="1939251" y="1473200"/>
                    </a:lnTo>
                    <a:lnTo>
                      <a:pt x="1965147" y="1460500"/>
                    </a:lnTo>
                    <a:lnTo>
                      <a:pt x="1988743" y="1435100"/>
                    </a:lnTo>
                    <a:lnTo>
                      <a:pt x="2008390" y="1422400"/>
                    </a:lnTo>
                    <a:lnTo>
                      <a:pt x="2022411" y="1397000"/>
                    </a:lnTo>
                    <a:lnTo>
                      <a:pt x="2030831" y="1358900"/>
                    </a:lnTo>
                    <a:lnTo>
                      <a:pt x="2033638" y="133350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1" name="object 9"/>
              <p:cNvSpPr>
                <a:spLocks noChangeArrowheads="1"/>
              </p:cNvSpPr>
              <p:nvPr userDrawn="1"/>
            </p:nvSpPr>
            <p:spPr bwMode="auto">
              <a:xfrm>
                <a:off x="8697913" y="7029450"/>
                <a:ext cx="1306512" cy="912813"/>
              </a:xfrm>
              <a:custGeom>
                <a:avLst/>
                <a:gdLst>
                  <a:gd name="T0" fmla="*/ 353193 w 1306195"/>
                  <a:gd name="T1" fmla="*/ 0 h 913765"/>
                  <a:gd name="T2" fmla="*/ 249188 w 1306195"/>
                  <a:gd name="T3" fmla="*/ 15359 h 913765"/>
                  <a:gd name="T4" fmla="*/ 128468 w 1306195"/>
                  <a:gd name="T5" fmla="*/ 80137 h 913765"/>
                  <a:gd name="T6" fmla="*/ 42341 w 1306195"/>
                  <a:gd name="T7" fmla="*/ 184724 h 913765"/>
                  <a:gd name="T8" fmla="*/ 1708 w 1306195"/>
                  <a:gd name="T9" fmla="*/ 317007 h 913765"/>
                  <a:gd name="T10" fmla="*/ 2168 w 1306195"/>
                  <a:gd name="T11" fmla="*/ 820758 h 913765"/>
                  <a:gd name="T12" fmla="*/ 52892 w 1306195"/>
                  <a:gd name="T13" fmla="*/ 894767 h 913765"/>
                  <a:gd name="T14" fmla="*/ 116677 w 1306195"/>
                  <a:gd name="T15" fmla="*/ 913616 h 913765"/>
                  <a:gd name="T16" fmla="*/ 182767 w 1306195"/>
                  <a:gd name="T17" fmla="*/ 894767 h 913765"/>
                  <a:gd name="T18" fmla="*/ 233673 w 1306195"/>
                  <a:gd name="T19" fmla="*/ 820758 h 913765"/>
                  <a:gd name="T20" fmla="*/ 238871 w 1306195"/>
                  <a:gd name="T21" fmla="*/ 367350 h 913765"/>
                  <a:gd name="T22" fmla="*/ 309626 w 1306195"/>
                  <a:gd name="T23" fmla="*/ 263079 h 913765"/>
                  <a:gd name="T24" fmla="*/ 399705 w 1306195"/>
                  <a:gd name="T25" fmla="*/ 235846 h 913765"/>
                  <a:gd name="T26" fmla="*/ 1278495 w 1306195"/>
                  <a:gd name="T27" fmla="*/ 215982 h 913765"/>
                  <a:gd name="T28" fmla="*/ 1203890 w 1306195"/>
                  <a:gd name="T29" fmla="*/ 103023 h 913765"/>
                  <a:gd name="T30" fmla="*/ 1091935 w 1306195"/>
                  <a:gd name="T31" fmla="*/ 27297 h 913765"/>
                  <a:gd name="T32" fmla="*/ 990751 w 1306195"/>
                  <a:gd name="T33" fmla="*/ 1707 h 913765"/>
                  <a:gd name="T34" fmla="*/ 652943 w 1306195"/>
                  <a:gd name="T35" fmla="*/ 297917 h 913765"/>
                  <a:gd name="T36" fmla="*/ 568516 w 1306195"/>
                  <a:gd name="T37" fmla="*/ 332670 h 913765"/>
                  <a:gd name="T38" fmla="*/ 533774 w 1306195"/>
                  <a:gd name="T39" fmla="*/ 417086 h 913765"/>
                  <a:gd name="T40" fmla="*/ 542452 w 1306195"/>
                  <a:gd name="T41" fmla="*/ 842558 h 913765"/>
                  <a:gd name="T42" fmla="*/ 606988 w 1306195"/>
                  <a:gd name="T43" fmla="*/ 905240 h 913765"/>
                  <a:gd name="T44" fmla="*/ 676749 w 1306195"/>
                  <a:gd name="T45" fmla="*/ 911522 h 913765"/>
                  <a:gd name="T46" fmla="*/ 750773 w 1306195"/>
                  <a:gd name="T47" fmla="*/ 862335 h 913765"/>
                  <a:gd name="T48" fmla="*/ 769631 w 1306195"/>
                  <a:gd name="T49" fmla="*/ 796928 h 913765"/>
                  <a:gd name="T50" fmla="*/ 761247 w 1306195"/>
                  <a:gd name="T51" fmla="*/ 371168 h 913765"/>
                  <a:gd name="T52" fmla="*/ 698549 w 1306195"/>
                  <a:gd name="T53" fmla="*/ 306608 h 913765"/>
                  <a:gd name="T54" fmla="*/ 1285757 w 1306195"/>
                  <a:gd name="T55" fmla="*/ 235846 h 913765"/>
                  <a:gd name="T56" fmla="*/ 938524 w 1306195"/>
                  <a:gd name="T57" fmla="*/ 238871 h 913765"/>
                  <a:gd name="T58" fmla="*/ 1021612 w 1306195"/>
                  <a:gd name="T59" fmla="*/ 284263 h 913765"/>
                  <a:gd name="T60" fmla="*/ 1070019 w 1306195"/>
                  <a:gd name="T61" fmla="*/ 399705 h 913765"/>
                  <a:gd name="T62" fmla="*/ 1072137 w 1306195"/>
                  <a:gd name="T63" fmla="*/ 820758 h 913765"/>
                  <a:gd name="T64" fmla="*/ 1121842 w 1306195"/>
                  <a:gd name="T65" fmla="*/ 894767 h 913765"/>
                  <a:gd name="T66" fmla="*/ 1187963 w 1306195"/>
                  <a:gd name="T67" fmla="*/ 913616 h 913765"/>
                  <a:gd name="T68" fmla="*/ 1254061 w 1306195"/>
                  <a:gd name="T69" fmla="*/ 894767 h 913765"/>
                  <a:gd name="T70" fmla="*/ 1303768 w 1306195"/>
                  <a:gd name="T71" fmla="*/ 820758 h 913765"/>
                  <a:gd name="T72" fmla="*/ 1305812 w 1306195"/>
                  <a:gd name="T73" fmla="*/ 350992 h 913765"/>
                  <a:gd name="T74" fmla="*/ 1299031 w 1306195"/>
                  <a:gd name="T75" fmla="*/ 282408 h 913765"/>
                  <a:gd name="T76" fmla="*/ 1285757 w 1306195"/>
                  <a:gd name="T77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06195" h="913765">
                    <a:moveTo>
                      <a:pt x="955175" y="0"/>
                    </a:moveTo>
                    <a:lnTo>
                      <a:pt x="353193" y="0"/>
                    </a:lnTo>
                    <a:lnTo>
                      <a:pt x="317588" y="1707"/>
                    </a:lnTo>
                    <a:lnTo>
                      <a:pt x="249188" y="15359"/>
                    </a:lnTo>
                    <a:lnTo>
                      <a:pt x="185044" y="42285"/>
                    </a:lnTo>
                    <a:lnTo>
                      <a:pt x="128468" y="80137"/>
                    </a:lnTo>
                    <a:lnTo>
                      <a:pt x="80280" y="128238"/>
                    </a:lnTo>
                    <a:lnTo>
                      <a:pt x="42341" y="184724"/>
                    </a:lnTo>
                    <a:lnTo>
                      <a:pt x="15376" y="248735"/>
                    </a:lnTo>
                    <a:lnTo>
                      <a:pt x="1708" y="317007"/>
                    </a:lnTo>
                    <a:lnTo>
                      <a:pt x="0" y="796928"/>
                    </a:lnTo>
                    <a:lnTo>
                      <a:pt x="2168" y="820758"/>
                    </a:lnTo>
                    <a:lnTo>
                      <a:pt x="19533" y="862335"/>
                    </a:lnTo>
                    <a:lnTo>
                      <a:pt x="52892" y="894767"/>
                    </a:lnTo>
                    <a:lnTo>
                      <a:pt x="93861" y="911522"/>
                    </a:lnTo>
                    <a:lnTo>
                      <a:pt x="116677" y="913616"/>
                    </a:lnTo>
                    <a:lnTo>
                      <a:pt x="140563" y="911522"/>
                    </a:lnTo>
                    <a:lnTo>
                      <a:pt x="182767" y="894767"/>
                    </a:lnTo>
                    <a:lnTo>
                      <a:pt x="216294" y="862335"/>
                    </a:lnTo>
                    <a:lnTo>
                      <a:pt x="233673" y="820758"/>
                    </a:lnTo>
                    <a:lnTo>
                      <a:pt x="235846" y="399705"/>
                    </a:lnTo>
                    <a:lnTo>
                      <a:pt x="238871" y="367350"/>
                    </a:lnTo>
                    <a:lnTo>
                      <a:pt x="263075" y="309626"/>
                    </a:lnTo>
                    <a:lnTo>
                      <a:pt x="309626" y="263079"/>
                    </a:lnTo>
                    <a:lnTo>
                      <a:pt x="367351" y="238871"/>
                    </a:lnTo>
                    <a:lnTo>
                      <a:pt x="399705" y="235846"/>
                    </a:lnTo>
                    <a:lnTo>
                      <a:pt x="1285757" y="235846"/>
                    </a:lnTo>
                    <a:lnTo>
                      <a:pt x="1278495" y="215982"/>
                    </a:lnTo>
                    <a:lnTo>
                      <a:pt x="1246171" y="155474"/>
                    </a:lnTo>
                    <a:lnTo>
                      <a:pt x="1203890" y="103023"/>
                    </a:lnTo>
                    <a:lnTo>
                      <a:pt x="1152282" y="59894"/>
                    </a:lnTo>
                    <a:lnTo>
                      <a:pt x="1091935" y="27297"/>
                    </a:lnTo>
                    <a:lnTo>
                      <a:pt x="1025404" y="6828"/>
                    </a:lnTo>
                    <a:lnTo>
                      <a:pt x="990751" y="1707"/>
                    </a:lnTo>
                    <a:lnTo>
                      <a:pt x="955175" y="0"/>
                    </a:lnTo>
                    <a:close/>
                  </a:path>
                  <a:path w="1306195" h="913765">
                    <a:moveTo>
                      <a:pt x="652943" y="297917"/>
                    </a:moveTo>
                    <a:lnTo>
                      <a:pt x="606988" y="306608"/>
                    </a:lnTo>
                    <a:lnTo>
                      <a:pt x="568516" y="332670"/>
                    </a:lnTo>
                    <a:lnTo>
                      <a:pt x="542452" y="371168"/>
                    </a:lnTo>
                    <a:lnTo>
                      <a:pt x="533774" y="417086"/>
                    </a:lnTo>
                    <a:lnTo>
                      <a:pt x="533774" y="796928"/>
                    </a:lnTo>
                    <a:lnTo>
                      <a:pt x="542452" y="842558"/>
                    </a:lnTo>
                    <a:lnTo>
                      <a:pt x="568516" y="880098"/>
                    </a:lnTo>
                    <a:lnTo>
                      <a:pt x="606988" y="905240"/>
                    </a:lnTo>
                    <a:lnTo>
                      <a:pt x="652943" y="913616"/>
                    </a:lnTo>
                    <a:lnTo>
                      <a:pt x="676749" y="911522"/>
                    </a:lnTo>
                    <a:lnTo>
                      <a:pt x="718338" y="894767"/>
                    </a:lnTo>
                    <a:lnTo>
                      <a:pt x="750773" y="862335"/>
                    </a:lnTo>
                    <a:lnTo>
                      <a:pt x="767534" y="820758"/>
                    </a:lnTo>
                    <a:lnTo>
                      <a:pt x="769631" y="796928"/>
                    </a:lnTo>
                    <a:lnTo>
                      <a:pt x="769631" y="417086"/>
                    </a:lnTo>
                    <a:lnTo>
                      <a:pt x="761247" y="371168"/>
                    </a:lnTo>
                    <a:lnTo>
                      <a:pt x="736113" y="332670"/>
                    </a:lnTo>
                    <a:lnTo>
                      <a:pt x="698549" y="306608"/>
                    </a:lnTo>
                    <a:lnTo>
                      <a:pt x="652943" y="297917"/>
                    </a:lnTo>
                    <a:close/>
                  </a:path>
                  <a:path w="1306195" h="913765">
                    <a:moveTo>
                      <a:pt x="1285757" y="235846"/>
                    </a:moveTo>
                    <a:lnTo>
                      <a:pt x="906171" y="235846"/>
                    </a:lnTo>
                    <a:lnTo>
                      <a:pt x="938524" y="238871"/>
                    </a:lnTo>
                    <a:lnTo>
                      <a:pt x="968549" y="247949"/>
                    </a:lnTo>
                    <a:lnTo>
                      <a:pt x="1021612" y="284263"/>
                    </a:lnTo>
                    <a:lnTo>
                      <a:pt x="1057921" y="337323"/>
                    </a:lnTo>
                    <a:lnTo>
                      <a:pt x="1070019" y="399705"/>
                    </a:lnTo>
                    <a:lnTo>
                      <a:pt x="1070019" y="796928"/>
                    </a:lnTo>
                    <a:lnTo>
                      <a:pt x="1072137" y="820758"/>
                    </a:lnTo>
                    <a:lnTo>
                      <a:pt x="1089076" y="862335"/>
                    </a:lnTo>
                    <a:lnTo>
                      <a:pt x="1121842" y="894767"/>
                    </a:lnTo>
                    <a:lnTo>
                      <a:pt x="1163871" y="911522"/>
                    </a:lnTo>
                    <a:lnTo>
                      <a:pt x="1187963" y="913616"/>
                    </a:lnTo>
                    <a:lnTo>
                      <a:pt x="1212023" y="911522"/>
                    </a:lnTo>
                    <a:lnTo>
                      <a:pt x="1254061" y="894767"/>
                    </a:lnTo>
                    <a:lnTo>
                      <a:pt x="1286830" y="862335"/>
                    </a:lnTo>
                    <a:lnTo>
                      <a:pt x="1303768" y="820758"/>
                    </a:lnTo>
                    <a:lnTo>
                      <a:pt x="1305886" y="796928"/>
                    </a:lnTo>
                    <a:lnTo>
                      <a:pt x="1305812" y="350992"/>
                    </a:lnTo>
                    <a:lnTo>
                      <a:pt x="1304172" y="317007"/>
                    </a:lnTo>
                    <a:lnTo>
                      <a:pt x="1299031" y="282408"/>
                    </a:lnTo>
                    <a:lnTo>
                      <a:pt x="1290470" y="248735"/>
                    </a:lnTo>
                    <a:lnTo>
                      <a:pt x="1285757" y="235846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2" name="object 10"/>
              <p:cNvSpPr>
                <a:spLocks noChangeArrowheads="1"/>
              </p:cNvSpPr>
              <p:nvPr userDrawn="1"/>
            </p:nvSpPr>
            <p:spPr bwMode="auto">
              <a:xfrm>
                <a:off x="10213975" y="7029450"/>
                <a:ext cx="1068388" cy="912813"/>
              </a:xfrm>
              <a:custGeom>
                <a:avLst/>
                <a:gdLst>
                  <a:gd name="T0" fmla="*/ 355842 w 1068070"/>
                  <a:gd name="T1" fmla="*/ 0 h 913765"/>
                  <a:gd name="T2" fmla="*/ 249469 w 1068070"/>
                  <a:gd name="T3" fmla="*/ 15359 h 913765"/>
                  <a:gd name="T4" fmla="*/ 128549 w 1068070"/>
                  <a:gd name="T5" fmla="*/ 80137 h 913765"/>
                  <a:gd name="T6" fmla="*/ 42358 w 1068070"/>
                  <a:gd name="T7" fmla="*/ 184724 h 913765"/>
                  <a:gd name="T8" fmla="*/ 1710 w 1068070"/>
                  <a:gd name="T9" fmla="*/ 317011 h 913765"/>
                  <a:gd name="T10" fmla="*/ 0 w 1068070"/>
                  <a:gd name="T11" fmla="*/ 561082 h 913765"/>
                  <a:gd name="T12" fmla="*/ 27360 w 1068070"/>
                  <a:gd name="T13" fmla="*/ 698868 h 913765"/>
                  <a:gd name="T14" fmla="*/ 103274 w 1068070"/>
                  <a:gd name="T15" fmla="*/ 810593 h 913765"/>
                  <a:gd name="T16" fmla="*/ 216496 w 1068070"/>
                  <a:gd name="T17" fmla="*/ 886308 h 913765"/>
                  <a:gd name="T18" fmla="*/ 355842 w 1068070"/>
                  <a:gd name="T19" fmla="*/ 913616 h 913765"/>
                  <a:gd name="T20" fmla="*/ 784500 w 1068070"/>
                  <a:gd name="T21" fmla="*/ 906802 h 913765"/>
                  <a:gd name="T22" fmla="*/ 911728 w 1068070"/>
                  <a:gd name="T23" fmla="*/ 853727 h 913765"/>
                  <a:gd name="T24" fmla="*/ 1007534 w 1068070"/>
                  <a:gd name="T25" fmla="*/ 758449 h 913765"/>
                  <a:gd name="T26" fmla="*/ 1047980 w 1068070"/>
                  <a:gd name="T27" fmla="*/ 677769 h 913765"/>
                  <a:gd name="T28" fmla="*/ 368753 w 1068070"/>
                  <a:gd name="T29" fmla="*/ 674822 h 913765"/>
                  <a:gd name="T30" fmla="*/ 263091 w 1068070"/>
                  <a:gd name="T31" fmla="*/ 605628 h 913765"/>
                  <a:gd name="T32" fmla="*/ 235867 w 1068070"/>
                  <a:gd name="T33" fmla="*/ 513911 h 913765"/>
                  <a:gd name="T34" fmla="*/ 247964 w 1068070"/>
                  <a:gd name="T35" fmla="*/ 337327 h 913765"/>
                  <a:gd name="T36" fmla="*/ 337954 w 1068070"/>
                  <a:gd name="T37" fmla="*/ 247953 h 913765"/>
                  <a:gd name="T38" fmla="*/ 1047433 w 1068070"/>
                  <a:gd name="T39" fmla="*/ 235846 h 913765"/>
                  <a:gd name="T40" fmla="*/ 1007534 w 1068070"/>
                  <a:gd name="T41" fmla="*/ 155474 h 913765"/>
                  <a:gd name="T42" fmla="*/ 911728 w 1068070"/>
                  <a:gd name="T43" fmla="*/ 59894 h 913765"/>
                  <a:gd name="T44" fmla="*/ 784500 w 1068070"/>
                  <a:gd name="T45" fmla="*/ 6828 h 913765"/>
                  <a:gd name="T46" fmla="*/ 714208 w 1068070"/>
                  <a:gd name="T47" fmla="*/ 0 h 913765"/>
                  <a:gd name="T48" fmla="*/ 665361 w 1068070"/>
                  <a:gd name="T49" fmla="*/ 235846 h 913765"/>
                  <a:gd name="T50" fmla="*/ 728048 w 1068070"/>
                  <a:gd name="T51" fmla="*/ 247953 h 913765"/>
                  <a:gd name="T52" fmla="*/ 819293 w 1068070"/>
                  <a:gd name="T53" fmla="*/ 337327 h 913765"/>
                  <a:gd name="T54" fmla="*/ 831712 w 1068070"/>
                  <a:gd name="T55" fmla="*/ 513911 h 913765"/>
                  <a:gd name="T56" fmla="*/ 782049 w 1068070"/>
                  <a:gd name="T57" fmla="*/ 630598 h 913765"/>
                  <a:gd name="T58" fmla="*/ 665361 w 1068070"/>
                  <a:gd name="T59" fmla="*/ 677769 h 913765"/>
                  <a:gd name="T60" fmla="*/ 1052142 w 1068070"/>
                  <a:gd name="T61" fmla="*/ 666515 h 913765"/>
                  <a:gd name="T62" fmla="*/ 1065842 w 1068070"/>
                  <a:gd name="T63" fmla="*/ 597623 h 913765"/>
                  <a:gd name="T64" fmla="*/ 1067559 w 1068070"/>
                  <a:gd name="T65" fmla="*/ 352533 h 913765"/>
                  <a:gd name="T66" fmla="*/ 1060700 w 1068070"/>
                  <a:gd name="T67" fmla="*/ 282412 h 913765"/>
                  <a:gd name="T68" fmla="*/ 1047433 w 1068070"/>
                  <a:gd name="T69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68070" h="913765">
                    <a:moveTo>
                      <a:pt x="714208" y="0"/>
                    </a:moveTo>
                    <a:lnTo>
                      <a:pt x="355842" y="0"/>
                    </a:lnTo>
                    <a:lnTo>
                      <a:pt x="319140" y="1707"/>
                    </a:lnTo>
                    <a:lnTo>
                      <a:pt x="249469" y="15359"/>
                    </a:lnTo>
                    <a:lnTo>
                      <a:pt x="185159" y="42285"/>
                    </a:lnTo>
                    <a:lnTo>
                      <a:pt x="128549" y="80137"/>
                    </a:lnTo>
                    <a:lnTo>
                      <a:pt x="80325" y="128238"/>
                    </a:lnTo>
                    <a:lnTo>
                      <a:pt x="42358" y="184724"/>
                    </a:lnTo>
                    <a:lnTo>
                      <a:pt x="15390" y="248736"/>
                    </a:lnTo>
                    <a:lnTo>
                      <a:pt x="1710" y="317011"/>
                    </a:lnTo>
                    <a:lnTo>
                      <a:pt x="0" y="352533"/>
                    </a:lnTo>
                    <a:lnTo>
                      <a:pt x="0" y="561082"/>
                    </a:lnTo>
                    <a:lnTo>
                      <a:pt x="6840" y="632767"/>
                    </a:lnTo>
                    <a:lnTo>
                      <a:pt x="27360" y="698868"/>
                    </a:lnTo>
                    <a:lnTo>
                      <a:pt x="60016" y="758449"/>
                    </a:lnTo>
                    <a:lnTo>
                      <a:pt x="103274" y="810593"/>
                    </a:lnTo>
                    <a:lnTo>
                      <a:pt x="155844" y="853727"/>
                    </a:lnTo>
                    <a:lnTo>
                      <a:pt x="216496" y="886308"/>
                    </a:lnTo>
                    <a:lnTo>
                      <a:pt x="283683" y="906802"/>
                    </a:lnTo>
                    <a:lnTo>
                      <a:pt x="355842" y="913616"/>
                    </a:lnTo>
                    <a:lnTo>
                      <a:pt x="714208" y="913616"/>
                    </a:lnTo>
                    <a:lnTo>
                      <a:pt x="784500" y="906802"/>
                    </a:lnTo>
                    <a:lnTo>
                      <a:pt x="851063" y="886308"/>
                    </a:lnTo>
                    <a:lnTo>
                      <a:pt x="911728" y="853727"/>
                    </a:lnTo>
                    <a:lnTo>
                      <a:pt x="964305" y="810593"/>
                    </a:lnTo>
                    <a:lnTo>
                      <a:pt x="1007534" y="758449"/>
                    </a:lnTo>
                    <a:lnTo>
                      <a:pt x="1040177" y="698868"/>
                    </a:lnTo>
                    <a:lnTo>
                      <a:pt x="1047980" y="677769"/>
                    </a:lnTo>
                    <a:lnTo>
                      <a:pt x="402197" y="677769"/>
                    </a:lnTo>
                    <a:lnTo>
                      <a:pt x="368753" y="674822"/>
                    </a:lnTo>
                    <a:lnTo>
                      <a:pt x="309795" y="651239"/>
                    </a:lnTo>
                    <a:lnTo>
                      <a:pt x="263091" y="605628"/>
                    </a:lnTo>
                    <a:lnTo>
                      <a:pt x="238891" y="547280"/>
                    </a:lnTo>
                    <a:lnTo>
                      <a:pt x="235867" y="513911"/>
                    </a:lnTo>
                    <a:lnTo>
                      <a:pt x="235867" y="399705"/>
                    </a:lnTo>
                    <a:lnTo>
                      <a:pt x="247964" y="337327"/>
                    </a:lnTo>
                    <a:lnTo>
                      <a:pt x="284274" y="284263"/>
                    </a:lnTo>
                    <a:lnTo>
                      <a:pt x="337954" y="247953"/>
                    </a:lnTo>
                    <a:lnTo>
                      <a:pt x="402197" y="235846"/>
                    </a:lnTo>
                    <a:lnTo>
                      <a:pt x="1047433" y="235846"/>
                    </a:lnTo>
                    <a:lnTo>
                      <a:pt x="1040177" y="215982"/>
                    </a:lnTo>
                    <a:lnTo>
                      <a:pt x="1007534" y="155474"/>
                    </a:lnTo>
                    <a:lnTo>
                      <a:pt x="964305" y="103023"/>
                    </a:lnTo>
                    <a:lnTo>
                      <a:pt x="911728" y="59894"/>
                    </a:lnTo>
                    <a:lnTo>
                      <a:pt x="851063" y="27297"/>
                    </a:lnTo>
                    <a:lnTo>
                      <a:pt x="784500" y="6828"/>
                    </a:lnTo>
                    <a:lnTo>
                      <a:pt x="749820" y="1707"/>
                    </a:lnTo>
                    <a:lnTo>
                      <a:pt x="714208" y="0"/>
                    </a:lnTo>
                    <a:close/>
                  </a:path>
                  <a:path w="1068070" h="913765">
                    <a:moveTo>
                      <a:pt x="1047433" y="235846"/>
                    </a:moveTo>
                    <a:lnTo>
                      <a:pt x="665361" y="235846"/>
                    </a:lnTo>
                    <a:lnTo>
                      <a:pt x="697794" y="238873"/>
                    </a:lnTo>
                    <a:lnTo>
                      <a:pt x="728048" y="247953"/>
                    </a:lnTo>
                    <a:lnTo>
                      <a:pt x="782049" y="284263"/>
                    </a:lnTo>
                    <a:lnTo>
                      <a:pt x="819293" y="337327"/>
                    </a:lnTo>
                    <a:lnTo>
                      <a:pt x="831712" y="399705"/>
                    </a:lnTo>
                    <a:lnTo>
                      <a:pt x="831712" y="513911"/>
                    </a:lnTo>
                    <a:lnTo>
                      <a:pt x="819293" y="577854"/>
                    </a:lnTo>
                    <a:lnTo>
                      <a:pt x="782049" y="630598"/>
                    </a:lnTo>
                    <a:lnTo>
                      <a:pt x="728048" y="665979"/>
                    </a:lnTo>
                    <a:lnTo>
                      <a:pt x="665361" y="677769"/>
                    </a:lnTo>
                    <a:lnTo>
                      <a:pt x="1047980" y="677769"/>
                    </a:lnTo>
                    <a:lnTo>
                      <a:pt x="1052142" y="666515"/>
                    </a:lnTo>
                    <a:lnTo>
                      <a:pt x="1060700" y="632767"/>
                    </a:lnTo>
                    <a:lnTo>
                      <a:pt x="1065842" y="597623"/>
                    </a:lnTo>
                    <a:lnTo>
                      <a:pt x="1067559" y="561082"/>
                    </a:lnTo>
                    <a:lnTo>
                      <a:pt x="1067559" y="352533"/>
                    </a:lnTo>
                    <a:lnTo>
                      <a:pt x="1065842" y="317011"/>
                    </a:lnTo>
                    <a:lnTo>
                      <a:pt x="1060700" y="282412"/>
                    </a:lnTo>
                    <a:lnTo>
                      <a:pt x="1052142" y="248736"/>
                    </a:lnTo>
                    <a:lnTo>
                      <a:pt x="1047433" y="235846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3" name="object 11"/>
              <p:cNvSpPr>
                <a:spLocks noChangeArrowheads="1"/>
              </p:cNvSpPr>
              <p:nvPr userDrawn="1"/>
            </p:nvSpPr>
            <p:spPr bwMode="auto">
              <a:xfrm>
                <a:off x="11460163" y="6557010"/>
                <a:ext cx="1555750" cy="1985963"/>
              </a:xfrm>
              <a:custGeom>
                <a:avLst/>
                <a:gdLst>
                  <a:gd name="T0" fmla="*/ 1097965 w 1554480"/>
                  <a:gd name="T1" fmla="*/ 751649 h 1986279"/>
                  <a:gd name="T2" fmla="*/ 1044575 w 1554480"/>
                  <a:gd name="T3" fmla="*/ 625030 h 1986279"/>
                  <a:gd name="T4" fmla="*/ 949007 w 1554480"/>
                  <a:gd name="T5" fmla="*/ 529450 h 1986279"/>
                  <a:gd name="T6" fmla="*/ 822375 w 1554480"/>
                  <a:gd name="T7" fmla="*/ 476072 h 1986279"/>
                  <a:gd name="T8" fmla="*/ 429514 w 1554480"/>
                  <a:gd name="T9" fmla="*/ 469239 h 1986279"/>
                  <a:gd name="T10" fmla="*/ 345109 w 1554480"/>
                  <a:gd name="T11" fmla="*/ 503986 h 1986279"/>
                  <a:gd name="T12" fmla="*/ 310349 w 1554480"/>
                  <a:gd name="T13" fmla="*/ 585914 h 1986279"/>
                  <a:gd name="T14" fmla="*/ 329882 w 1554480"/>
                  <a:gd name="T15" fmla="*/ 652030 h 1986279"/>
                  <a:gd name="T16" fmla="*/ 405599 w 1554480"/>
                  <a:gd name="T17" fmla="*/ 702919 h 1986279"/>
                  <a:gd name="T18" fmla="*/ 775055 w 1554480"/>
                  <a:gd name="T19" fmla="*/ 707263 h 1986279"/>
                  <a:gd name="T20" fmla="*/ 849388 w 1554480"/>
                  <a:gd name="T21" fmla="*/ 757072 h 1986279"/>
                  <a:gd name="T22" fmla="*/ 868946 w 1554480"/>
                  <a:gd name="T23" fmla="*/ 821766 h 1986279"/>
                  <a:gd name="T24" fmla="*/ 860247 w 1554480"/>
                  <a:gd name="T25" fmla="*/ 1078115 h 1986279"/>
                  <a:gd name="T26" fmla="*/ 796315 w 1554480"/>
                  <a:gd name="T27" fmla="*/ 1138326 h 1986279"/>
                  <a:gd name="T28" fmla="*/ 352539 w 1554480"/>
                  <a:gd name="T29" fmla="*/ 1147013 h 1986279"/>
                  <a:gd name="T30" fmla="*/ 268135 w 1554480"/>
                  <a:gd name="T31" fmla="*/ 1112240 h 1986279"/>
                  <a:gd name="T32" fmla="*/ 235851 w 1554480"/>
                  <a:gd name="T33" fmla="*/ 1030325 h 1986279"/>
                  <a:gd name="T34" fmla="*/ 233680 w 1554480"/>
                  <a:gd name="T35" fmla="*/ 92887 h 1986279"/>
                  <a:gd name="T36" fmla="*/ 182791 w 1554480"/>
                  <a:gd name="T37" fmla="*/ 18859 h 1986279"/>
                  <a:gd name="T38" fmla="*/ 116700 w 1554480"/>
                  <a:gd name="T39" fmla="*/ 0 h 1986279"/>
                  <a:gd name="T40" fmla="*/ 51282 w 1554480"/>
                  <a:gd name="T41" fmla="*/ 18859 h 1986279"/>
                  <a:gd name="T42" fmla="*/ 2095 w 1554480"/>
                  <a:gd name="T43" fmla="*/ 92887 h 1986279"/>
                  <a:gd name="T44" fmla="*/ 0 w 1554480"/>
                  <a:gd name="T45" fmla="*/ 1030325 h 1986279"/>
                  <a:gd name="T46" fmla="*/ 27330 w 1554480"/>
                  <a:gd name="T47" fmla="*/ 1166876 h 1986279"/>
                  <a:gd name="T48" fmla="*/ 104279 w 1554480"/>
                  <a:gd name="T49" fmla="*/ 1281061 h 1986279"/>
                  <a:gd name="T50" fmla="*/ 214757 w 1554480"/>
                  <a:gd name="T51" fmla="*/ 1355559 h 1986279"/>
                  <a:gd name="T52" fmla="*/ 352539 w 1554480"/>
                  <a:gd name="T53" fmla="*/ 1382852 h 1986279"/>
                  <a:gd name="T54" fmla="*/ 822375 w 1554480"/>
                  <a:gd name="T55" fmla="*/ 1376032 h 1986279"/>
                  <a:gd name="T56" fmla="*/ 949007 w 1554480"/>
                  <a:gd name="T57" fmla="*/ 1323289 h 1986279"/>
                  <a:gd name="T58" fmla="*/ 1044575 w 1554480"/>
                  <a:gd name="T59" fmla="*/ 1227709 h 1986279"/>
                  <a:gd name="T60" fmla="*/ 1097965 w 1554480"/>
                  <a:gd name="T61" fmla="*/ 1100467 h 1986279"/>
                  <a:gd name="T62" fmla="*/ 1104798 w 1554480"/>
                  <a:gd name="T63" fmla="*/ 821766 h 1986279"/>
                  <a:gd name="T64" fmla="*/ 1546021 w 1554480"/>
                  <a:gd name="T65" fmla="*/ 559244 h 1986279"/>
                  <a:gd name="T66" fmla="*/ 1483334 w 1554480"/>
                  <a:gd name="T67" fmla="*/ 495300 h 1986279"/>
                  <a:gd name="T68" fmla="*/ 1413814 w 1554480"/>
                  <a:gd name="T69" fmla="*/ 488784 h 1986279"/>
                  <a:gd name="T70" fmla="*/ 1338084 w 1554480"/>
                  <a:gd name="T71" fmla="*/ 539534 h 1986279"/>
                  <a:gd name="T72" fmla="*/ 1318539 w 1554480"/>
                  <a:gd name="T73" fmla="*/ 603300 h 1986279"/>
                  <a:gd name="T74" fmla="*/ 1316520 w 1554480"/>
                  <a:gd name="T75" fmla="*/ 1658429 h 1986279"/>
                  <a:gd name="T76" fmla="*/ 1269034 w 1554480"/>
                  <a:gd name="T77" fmla="*/ 1732127 h 1986279"/>
                  <a:gd name="T78" fmla="*/ 1204353 w 1554480"/>
                  <a:gd name="T79" fmla="*/ 1750301 h 1986279"/>
                  <a:gd name="T80" fmla="*/ 1024204 w 1554480"/>
                  <a:gd name="T81" fmla="*/ 1752460 h 1986279"/>
                  <a:gd name="T82" fmla="*/ 951903 w 1554480"/>
                  <a:gd name="T83" fmla="*/ 1803349 h 1986279"/>
                  <a:gd name="T84" fmla="*/ 933729 w 1554480"/>
                  <a:gd name="T85" fmla="*/ 1869465 h 1986279"/>
                  <a:gd name="T86" fmla="*/ 951903 w 1554480"/>
                  <a:gd name="T87" fmla="*/ 1934870 h 1986279"/>
                  <a:gd name="T88" fmla="*/ 1024204 w 1554480"/>
                  <a:gd name="T89" fmla="*/ 1984057 h 1986279"/>
                  <a:gd name="T90" fmla="*/ 1204353 w 1554480"/>
                  <a:gd name="T91" fmla="*/ 1986153 h 1986279"/>
                  <a:gd name="T92" fmla="*/ 1339659 w 1554480"/>
                  <a:gd name="T93" fmla="*/ 1958835 h 1986279"/>
                  <a:gd name="T94" fmla="*/ 1452626 w 1554480"/>
                  <a:gd name="T95" fmla="*/ 1881873 h 1986279"/>
                  <a:gd name="T96" fmla="*/ 1509166 w 1554480"/>
                  <a:gd name="T97" fmla="*/ 1811248 h 1986279"/>
                  <a:gd name="T98" fmla="*/ 1543088 w 1554480"/>
                  <a:gd name="T99" fmla="*/ 1728495 h 1986279"/>
                  <a:gd name="T100" fmla="*/ 1554403 w 1554480"/>
                  <a:gd name="T101" fmla="*/ 1633613 h 1986279"/>
                  <a:gd name="T102" fmla="*/ 1554403 w 1554480"/>
                  <a:gd name="T103" fmla="*/ 219760 h 1986279"/>
                  <a:gd name="T104" fmla="*/ 1520888 w 1554480"/>
                  <a:gd name="T105" fmla="*/ 137439 h 1986279"/>
                  <a:gd name="T106" fmla="*/ 1437716 w 1554480"/>
                  <a:gd name="T107" fmla="*/ 104267 h 1986279"/>
                  <a:gd name="T108" fmla="*/ 1371612 w 1554480"/>
                  <a:gd name="T109" fmla="*/ 122936 h 1986279"/>
                  <a:gd name="T110" fmla="*/ 1320711 w 1554480"/>
                  <a:gd name="T111" fmla="*/ 196202 h 1986279"/>
                  <a:gd name="T112" fmla="*/ 1318539 w 1554480"/>
                  <a:gd name="T113" fmla="*/ 222211 h 1986279"/>
                  <a:gd name="T114" fmla="*/ 1353312 w 1554480"/>
                  <a:gd name="T115" fmla="*/ 305765 h 1986279"/>
                  <a:gd name="T116" fmla="*/ 1437716 w 1554480"/>
                  <a:gd name="T117" fmla="*/ 340131 h 1986279"/>
                  <a:gd name="T118" fmla="*/ 1503121 w 1554480"/>
                  <a:gd name="T119" fmla="*/ 320802 h 1986279"/>
                  <a:gd name="T120" fmla="*/ 1552308 w 1554480"/>
                  <a:gd name="T121" fmla="*/ 245859 h 1986279"/>
                  <a:gd name="T122" fmla="*/ 1554403 w 1554480"/>
                  <a:gd name="T123" fmla="*/ 219760 h 1986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54480" h="1986279">
                    <a:moveTo>
                      <a:pt x="1104798" y="821766"/>
                    </a:moveTo>
                    <a:lnTo>
                      <a:pt x="1097965" y="751649"/>
                    </a:lnTo>
                    <a:lnTo>
                      <a:pt x="1077493" y="685215"/>
                    </a:lnTo>
                    <a:lnTo>
                      <a:pt x="1044575" y="625030"/>
                    </a:lnTo>
                    <a:lnTo>
                      <a:pt x="1000531" y="573506"/>
                    </a:lnTo>
                    <a:lnTo>
                      <a:pt x="949007" y="529450"/>
                    </a:lnTo>
                    <a:lnTo>
                      <a:pt x="888822" y="496531"/>
                    </a:lnTo>
                    <a:lnTo>
                      <a:pt x="822375" y="476072"/>
                    </a:lnTo>
                    <a:lnTo>
                      <a:pt x="752259" y="469239"/>
                    </a:lnTo>
                    <a:lnTo>
                      <a:pt x="429514" y="469239"/>
                    </a:lnTo>
                    <a:lnTo>
                      <a:pt x="383565" y="477926"/>
                    </a:lnTo>
                    <a:lnTo>
                      <a:pt x="345109" y="503986"/>
                    </a:lnTo>
                    <a:lnTo>
                      <a:pt x="319024" y="541870"/>
                    </a:lnTo>
                    <a:lnTo>
                      <a:pt x="310349" y="585914"/>
                    </a:lnTo>
                    <a:lnTo>
                      <a:pt x="312508" y="609828"/>
                    </a:lnTo>
                    <a:lnTo>
                      <a:pt x="329882" y="652030"/>
                    </a:lnTo>
                    <a:lnTo>
                      <a:pt x="363397" y="685546"/>
                    </a:lnTo>
                    <a:lnTo>
                      <a:pt x="405599" y="702919"/>
                    </a:lnTo>
                    <a:lnTo>
                      <a:pt x="752259" y="705078"/>
                    </a:lnTo>
                    <a:lnTo>
                      <a:pt x="775055" y="707263"/>
                    </a:lnTo>
                    <a:lnTo>
                      <a:pt x="816025" y="724649"/>
                    </a:lnTo>
                    <a:lnTo>
                      <a:pt x="849388" y="757072"/>
                    </a:lnTo>
                    <a:lnTo>
                      <a:pt x="866775" y="798042"/>
                    </a:lnTo>
                    <a:lnTo>
                      <a:pt x="868946" y="821766"/>
                    </a:lnTo>
                    <a:lnTo>
                      <a:pt x="868946" y="1030325"/>
                    </a:lnTo>
                    <a:lnTo>
                      <a:pt x="860247" y="1078115"/>
                    </a:lnTo>
                    <a:lnTo>
                      <a:pt x="834186" y="1112240"/>
                    </a:lnTo>
                    <a:lnTo>
                      <a:pt x="796315" y="1138326"/>
                    </a:lnTo>
                    <a:lnTo>
                      <a:pt x="752259" y="1147013"/>
                    </a:lnTo>
                    <a:lnTo>
                      <a:pt x="352539" y="1147013"/>
                    </a:lnTo>
                    <a:lnTo>
                      <a:pt x="309092" y="1138326"/>
                    </a:lnTo>
                    <a:lnTo>
                      <a:pt x="268135" y="1112240"/>
                    </a:lnTo>
                    <a:lnTo>
                      <a:pt x="243916" y="1076871"/>
                    </a:lnTo>
                    <a:lnTo>
                      <a:pt x="235851" y="1030325"/>
                    </a:lnTo>
                    <a:lnTo>
                      <a:pt x="235851" y="116687"/>
                    </a:lnTo>
                    <a:lnTo>
                      <a:pt x="233680" y="92887"/>
                    </a:lnTo>
                    <a:lnTo>
                      <a:pt x="216306" y="51295"/>
                    </a:lnTo>
                    <a:lnTo>
                      <a:pt x="182791" y="18859"/>
                    </a:lnTo>
                    <a:lnTo>
                      <a:pt x="140576" y="2095"/>
                    </a:lnTo>
                    <a:lnTo>
                      <a:pt x="116700" y="0"/>
                    </a:lnTo>
                    <a:lnTo>
                      <a:pt x="92862" y="2095"/>
                    </a:lnTo>
                    <a:lnTo>
                      <a:pt x="51282" y="18859"/>
                    </a:lnTo>
                    <a:lnTo>
                      <a:pt x="18859" y="51295"/>
                    </a:lnTo>
                    <a:lnTo>
                      <a:pt x="2095" y="92887"/>
                    </a:lnTo>
                    <a:lnTo>
                      <a:pt x="0" y="116687"/>
                    </a:lnTo>
                    <a:lnTo>
                      <a:pt x="0" y="1030325"/>
                    </a:lnTo>
                    <a:lnTo>
                      <a:pt x="6819" y="1100467"/>
                    </a:lnTo>
                    <a:lnTo>
                      <a:pt x="27330" y="1166876"/>
                    </a:lnTo>
                    <a:lnTo>
                      <a:pt x="60198" y="1227709"/>
                    </a:lnTo>
                    <a:lnTo>
                      <a:pt x="104279" y="1281061"/>
                    </a:lnTo>
                    <a:lnTo>
                      <a:pt x="155473" y="1323289"/>
                    </a:lnTo>
                    <a:lnTo>
                      <a:pt x="214757" y="1355559"/>
                    </a:lnTo>
                    <a:lnTo>
                      <a:pt x="280860" y="1376032"/>
                    </a:lnTo>
                    <a:lnTo>
                      <a:pt x="352539" y="1382852"/>
                    </a:lnTo>
                    <a:lnTo>
                      <a:pt x="752259" y="1382852"/>
                    </a:lnTo>
                    <a:lnTo>
                      <a:pt x="822375" y="1376032"/>
                    </a:lnTo>
                    <a:lnTo>
                      <a:pt x="888822" y="1355559"/>
                    </a:lnTo>
                    <a:lnTo>
                      <a:pt x="949007" y="1323289"/>
                    </a:lnTo>
                    <a:lnTo>
                      <a:pt x="1000531" y="1281061"/>
                    </a:lnTo>
                    <a:lnTo>
                      <a:pt x="1044575" y="1227709"/>
                    </a:lnTo>
                    <a:lnTo>
                      <a:pt x="1077493" y="1166876"/>
                    </a:lnTo>
                    <a:lnTo>
                      <a:pt x="1097965" y="1100467"/>
                    </a:lnTo>
                    <a:lnTo>
                      <a:pt x="1104798" y="1030325"/>
                    </a:lnTo>
                    <a:lnTo>
                      <a:pt x="1104798" y="821766"/>
                    </a:lnTo>
                    <a:close/>
                  </a:path>
                  <a:path w="1554480" h="1986279">
                    <a:moveTo>
                      <a:pt x="1554403" y="603300"/>
                    </a:moveTo>
                    <a:lnTo>
                      <a:pt x="1546021" y="559244"/>
                    </a:lnTo>
                    <a:lnTo>
                      <a:pt x="1520888" y="521373"/>
                    </a:lnTo>
                    <a:lnTo>
                      <a:pt x="1483334" y="495300"/>
                    </a:lnTo>
                    <a:lnTo>
                      <a:pt x="1437716" y="486613"/>
                    </a:lnTo>
                    <a:lnTo>
                      <a:pt x="1413814" y="488784"/>
                    </a:lnTo>
                    <a:lnTo>
                      <a:pt x="1371612" y="506171"/>
                    </a:lnTo>
                    <a:lnTo>
                      <a:pt x="1338084" y="539534"/>
                    </a:lnTo>
                    <a:lnTo>
                      <a:pt x="1320711" y="580504"/>
                    </a:lnTo>
                    <a:lnTo>
                      <a:pt x="1318539" y="603300"/>
                    </a:lnTo>
                    <a:lnTo>
                      <a:pt x="1318539" y="1633613"/>
                    </a:lnTo>
                    <a:lnTo>
                      <a:pt x="1316520" y="1658429"/>
                    </a:lnTo>
                    <a:lnTo>
                      <a:pt x="1300391" y="1700631"/>
                    </a:lnTo>
                    <a:lnTo>
                      <a:pt x="1269034" y="1732127"/>
                    </a:lnTo>
                    <a:lnTo>
                      <a:pt x="1228077" y="1748269"/>
                    </a:lnTo>
                    <a:lnTo>
                      <a:pt x="1204353" y="1750301"/>
                    </a:lnTo>
                    <a:lnTo>
                      <a:pt x="1047940" y="1750301"/>
                    </a:lnTo>
                    <a:lnTo>
                      <a:pt x="1024204" y="1752460"/>
                    </a:lnTo>
                    <a:lnTo>
                      <a:pt x="983246" y="1769833"/>
                    </a:lnTo>
                    <a:lnTo>
                      <a:pt x="951903" y="1803349"/>
                    </a:lnTo>
                    <a:lnTo>
                      <a:pt x="935748" y="1845551"/>
                    </a:lnTo>
                    <a:lnTo>
                      <a:pt x="933729" y="1869465"/>
                    </a:lnTo>
                    <a:lnTo>
                      <a:pt x="935748" y="1893277"/>
                    </a:lnTo>
                    <a:lnTo>
                      <a:pt x="951903" y="1934870"/>
                    </a:lnTo>
                    <a:lnTo>
                      <a:pt x="983246" y="1967293"/>
                    </a:lnTo>
                    <a:lnTo>
                      <a:pt x="1024204" y="1984057"/>
                    </a:lnTo>
                    <a:lnTo>
                      <a:pt x="1047940" y="1986153"/>
                    </a:lnTo>
                    <a:lnTo>
                      <a:pt x="1204353" y="1986153"/>
                    </a:lnTo>
                    <a:lnTo>
                      <a:pt x="1274165" y="1979320"/>
                    </a:lnTo>
                    <a:lnTo>
                      <a:pt x="1339659" y="1958835"/>
                    </a:lnTo>
                    <a:lnTo>
                      <a:pt x="1399540" y="1925929"/>
                    </a:lnTo>
                    <a:lnTo>
                      <a:pt x="1452626" y="1881873"/>
                    </a:lnTo>
                    <a:lnTo>
                      <a:pt x="1483715" y="1848078"/>
                    </a:lnTo>
                    <a:lnTo>
                      <a:pt x="1509166" y="1811248"/>
                    </a:lnTo>
                    <a:lnTo>
                      <a:pt x="1528953" y="1771383"/>
                    </a:lnTo>
                    <a:lnTo>
                      <a:pt x="1543088" y="1728495"/>
                    </a:lnTo>
                    <a:lnTo>
                      <a:pt x="1551571" y="1682559"/>
                    </a:lnTo>
                    <a:lnTo>
                      <a:pt x="1554403" y="1633613"/>
                    </a:lnTo>
                    <a:lnTo>
                      <a:pt x="1554403" y="603300"/>
                    </a:lnTo>
                    <a:close/>
                  </a:path>
                  <a:path w="1554480" h="1986279">
                    <a:moveTo>
                      <a:pt x="1554403" y="219760"/>
                    </a:moveTo>
                    <a:lnTo>
                      <a:pt x="1546021" y="174612"/>
                    </a:lnTo>
                    <a:lnTo>
                      <a:pt x="1520888" y="137439"/>
                    </a:lnTo>
                    <a:lnTo>
                      <a:pt x="1483334" y="112560"/>
                    </a:lnTo>
                    <a:lnTo>
                      <a:pt x="1437716" y="104267"/>
                    </a:lnTo>
                    <a:lnTo>
                      <a:pt x="1413814" y="106349"/>
                    </a:lnTo>
                    <a:lnTo>
                      <a:pt x="1371612" y="122936"/>
                    </a:lnTo>
                    <a:lnTo>
                      <a:pt x="1338084" y="155028"/>
                    </a:lnTo>
                    <a:lnTo>
                      <a:pt x="1320711" y="196202"/>
                    </a:lnTo>
                    <a:lnTo>
                      <a:pt x="1318539" y="219760"/>
                    </a:lnTo>
                    <a:lnTo>
                      <a:pt x="1318539" y="222211"/>
                    </a:lnTo>
                    <a:lnTo>
                      <a:pt x="1327226" y="267677"/>
                    </a:lnTo>
                    <a:lnTo>
                      <a:pt x="1353312" y="305765"/>
                    </a:lnTo>
                    <a:lnTo>
                      <a:pt x="1391780" y="331546"/>
                    </a:lnTo>
                    <a:lnTo>
                      <a:pt x="1437716" y="340131"/>
                    </a:lnTo>
                    <a:lnTo>
                      <a:pt x="1461528" y="337985"/>
                    </a:lnTo>
                    <a:lnTo>
                      <a:pt x="1503121" y="320802"/>
                    </a:lnTo>
                    <a:lnTo>
                      <a:pt x="1535557" y="287642"/>
                    </a:lnTo>
                    <a:lnTo>
                      <a:pt x="1552308" y="245859"/>
                    </a:lnTo>
                    <a:lnTo>
                      <a:pt x="1554403" y="222211"/>
                    </a:lnTo>
                    <a:lnTo>
                      <a:pt x="1554403" y="21976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04" name="object 12"/>
              <p:cNvSpPr>
                <a:spLocks noChangeArrowheads="1"/>
              </p:cNvSpPr>
              <p:nvPr userDrawn="1"/>
            </p:nvSpPr>
            <p:spPr bwMode="auto">
              <a:xfrm>
                <a:off x="13196888" y="7029450"/>
                <a:ext cx="976312" cy="912813"/>
              </a:xfrm>
              <a:custGeom>
                <a:avLst/>
                <a:gdLst>
                  <a:gd name="T0" fmla="*/ 335173 w 975994"/>
                  <a:gd name="T1" fmla="*/ 0 h 913765"/>
                  <a:gd name="T2" fmla="*/ 231116 w 975994"/>
                  <a:gd name="T3" fmla="*/ 13976 h 913765"/>
                  <a:gd name="T4" fmla="*/ 117695 w 975994"/>
                  <a:gd name="T5" fmla="*/ 71851 h 913765"/>
                  <a:gd name="T6" fmla="*/ 38472 w 975994"/>
                  <a:gd name="T7" fmla="*/ 162167 h 913765"/>
                  <a:gd name="T8" fmla="*/ 1549 w 975994"/>
                  <a:gd name="T9" fmla="*/ 274814 h 913765"/>
                  <a:gd name="T10" fmla="*/ 0 w 975994"/>
                  <a:gd name="T11" fmla="*/ 583427 h 913765"/>
                  <a:gd name="T12" fmla="*/ 8383 w 975994"/>
                  <a:gd name="T13" fmla="*/ 664134 h 913765"/>
                  <a:gd name="T14" fmla="*/ 71058 w 975994"/>
                  <a:gd name="T15" fmla="*/ 789184 h 913765"/>
                  <a:gd name="T16" fmla="*/ 168189 w 975994"/>
                  <a:gd name="T17" fmla="*/ 870798 h 913765"/>
                  <a:gd name="T18" fmla="*/ 278664 w 975994"/>
                  <a:gd name="T19" fmla="*/ 908971 h 913765"/>
                  <a:gd name="T20" fmla="*/ 856528 w 975994"/>
                  <a:gd name="T21" fmla="*/ 913626 h 913765"/>
                  <a:gd name="T22" fmla="*/ 940934 w 975994"/>
                  <a:gd name="T23" fmla="*/ 880109 h 913765"/>
                  <a:gd name="T24" fmla="*/ 975698 w 975994"/>
                  <a:gd name="T25" fmla="*/ 796939 h 913765"/>
                  <a:gd name="T26" fmla="*/ 956137 w 975994"/>
                  <a:gd name="T27" fmla="*/ 730848 h 913765"/>
                  <a:gd name="T28" fmla="*/ 880410 w 975994"/>
                  <a:gd name="T29" fmla="*/ 679944 h 913765"/>
                  <a:gd name="T30" fmla="*/ 360286 w 975994"/>
                  <a:gd name="T31" fmla="*/ 675369 h 913765"/>
                  <a:gd name="T32" fmla="*/ 258191 w 975994"/>
                  <a:gd name="T33" fmla="*/ 617030 h 913765"/>
                  <a:gd name="T34" fmla="*/ 235856 w 975994"/>
                  <a:gd name="T35" fmla="*/ 513911 h 913765"/>
                  <a:gd name="T36" fmla="*/ 245468 w 975994"/>
                  <a:gd name="T37" fmla="*/ 318723 h 913765"/>
                  <a:gd name="T38" fmla="*/ 319952 w 975994"/>
                  <a:gd name="T39" fmla="*/ 244864 h 913765"/>
                  <a:gd name="T40" fmla="*/ 692680 w 975994"/>
                  <a:gd name="T41" fmla="*/ 235856 h 913765"/>
                  <a:gd name="T42" fmla="*/ 747286 w 975994"/>
                  <a:gd name="T43" fmla="*/ 296682 h 913765"/>
                  <a:gd name="T44" fmla="*/ 725946 w 975994"/>
                  <a:gd name="T45" fmla="*/ 346817 h 913765"/>
                  <a:gd name="T46" fmla="*/ 407688 w 975994"/>
                  <a:gd name="T47" fmla="*/ 359579 h 913765"/>
                  <a:gd name="T48" fmla="*/ 336319 w 975994"/>
                  <a:gd name="T49" fmla="*/ 407591 h 913765"/>
                  <a:gd name="T50" fmla="*/ 320262 w 975994"/>
                  <a:gd name="T51" fmla="*/ 463022 h 913765"/>
                  <a:gd name="T52" fmla="*/ 336319 w 975994"/>
                  <a:gd name="T53" fmla="*/ 518466 h 913765"/>
                  <a:gd name="T54" fmla="*/ 407688 w 975994"/>
                  <a:gd name="T55" fmla="*/ 566460 h 913765"/>
                  <a:gd name="T56" fmla="*/ 692680 w 975994"/>
                  <a:gd name="T57" fmla="*/ 568527 h 913765"/>
                  <a:gd name="T58" fmla="*/ 782965 w 975994"/>
                  <a:gd name="T59" fmla="*/ 557986 h 913765"/>
                  <a:gd name="T60" fmla="*/ 855282 w 975994"/>
                  <a:gd name="T61" fmla="*/ 526329 h 913765"/>
                  <a:gd name="T62" fmla="*/ 947143 w 975994"/>
                  <a:gd name="T63" fmla="*/ 420814 h 913765"/>
                  <a:gd name="T64" fmla="*/ 970401 w 975994"/>
                  <a:gd name="T65" fmla="*/ 320275 h 913765"/>
                  <a:gd name="T66" fmla="*/ 955516 w 975994"/>
                  <a:gd name="T67" fmla="*/ 213520 h 913765"/>
                  <a:gd name="T68" fmla="*/ 880720 w 975994"/>
                  <a:gd name="T69" fmla="*/ 89694 h 913765"/>
                  <a:gd name="T70" fmla="*/ 819283 w 975994"/>
                  <a:gd name="T71" fmla="*/ 42197 h 913765"/>
                  <a:gd name="T72" fmla="*/ 742935 w 975994"/>
                  <a:gd name="T73" fmla="*/ 10555 h 913765"/>
                  <a:gd name="T74" fmla="*/ 652953 w 975994"/>
                  <a:gd name="T75" fmla="*/ 0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75994" h="913765">
                    <a:moveTo>
                      <a:pt x="652953" y="0"/>
                    </a:moveTo>
                    <a:lnTo>
                      <a:pt x="335173" y="0"/>
                    </a:lnTo>
                    <a:lnTo>
                      <a:pt x="298778" y="1555"/>
                    </a:lnTo>
                    <a:lnTo>
                      <a:pt x="231116" y="13976"/>
                    </a:lnTo>
                    <a:lnTo>
                      <a:pt x="170444" y="38333"/>
                    </a:lnTo>
                    <a:lnTo>
                      <a:pt x="117695" y="71851"/>
                    </a:lnTo>
                    <a:lnTo>
                      <a:pt x="73233" y="113755"/>
                    </a:lnTo>
                    <a:lnTo>
                      <a:pt x="38472" y="162167"/>
                    </a:lnTo>
                    <a:lnTo>
                      <a:pt x="13958" y="216469"/>
                    </a:lnTo>
                    <a:lnTo>
                      <a:pt x="1549" y="274814"/>
                    </a:lnTo>
                    <a:lnTo>
                      <a:pt x="0" y="305372"/>
                    </a:lnTo>
                    <a:lnTo>
                      <a:pt x="0" y="583427"/>
                    </a:lnTo>
                    <a:lnTo>
                      <a:pt x="2096" y="625337"/>
                    </a:lnTo>
                    <a:lnTo>
                      <a:pt x="8383" y="664134"/>
                    </a:lnTo>
                    <a:lnTo>
                      <a:pt x="33517" y="732386"/>
                    </a:lnTo>
                    <a:lnTo>
                      <a:pt x="71058" y="789184"/>
                    </a:lnTo>
                    <a:lnTo>
                      <a:pt x="116687" y="835419"/>
                    </a:lnTo>
                    <a:lnTo>
                      <a:pt x="168189" y="870798"/>
                    </a:lnTo>
                    <a:lnTo>
                      <a:pt x="223438" y="895009"/>
                    </a:lnTo>
                    <a:lnTo>
                      <a:pt x="278664" y="908971"/>
                    </a:lnTo>
                    <a:lnTo>
                      <a:pt x="330199" y="913626"/>
                    </a:lnTo>
                    <a:lnTo>
                      <a:pt x="856528" y="913626"/>
                    </a:lnTo>
                    <a:lnTo>
                      <a:pt x="902438" y="905247"/>
                    </a:lnTo>
                    <a:lnTo>
                      <a:pt x="940934" y="880109"/>
                    </a:lnTo>
                    <a:lnTo>
                      <a:pt x="967001" y="842568"/>
                    </a:lnTo>
                    <a:lnTo>
                      <a:pt x="975698" y="796939"/>
                    </a:lnTo>
                    <a:lnTo>
                      <a:pt x="973523" y="773053"/>
                    </a:lnTo>
                    <a:lnTo>
                      <a:pt x="956137" y="730848"/>
                    </a:lnTo>
                    <a:lnTo>
                      <a:pt x="922613" y="697325"/>
                    </a:lnTo>
                    <a:lnTo>
                      <a:pt x="880410" y="679944"/>
                    </a:lnTo>
                    <a:lnTo>
                      <a:pt x="399705" y="677769"/>
                    </a:lnTo>
                    <a:lnTo>
                      <a:pt x="360286" y="675369"/>
                    </a:lnTo>
                    <a:lnTo>
                      <a:pt x="298216" y="656137"/>
                    </a:lnTo>
                    <a:lnTo>
                      <a:pt x="258191" y="617030"/>
                    </a:lnTo>
                    <a:lnTo>
                      <a:pt x="238336" y="554345"/>
                    </a:lnTo>
                    <a:lnTo>
                      <a:pt x="235856" y="513911"/>
                    </a:lnTo>
                    <a:lnTo>
                      <a:pt x="235856" y="387297"/>
                    </a:lnTo>
                    <a:lnTo>
                      <a:pt x="245468" y="318723"/>
                    </a:lnTo>
                    <a:lnTo>
                      <a:pt x="274337" y="271855"/>
                    </a:lnTo>
                    <a:lnTo>
                      <a:pt x="319952" y="244864"/>
                    </a:lnTo>
                    <a:lnTo>
                      <a:pt x="379852" y="235856"/>
                    </a:lnTo>
                    <a:lnTo>
                      <a:pt x="692680" y="235856"/>
                    </a:lnTo>
                    <a:lnTo>
                      <a:pt x="733632" y="254850"/>
                    </a:lnTo>
                    <a:lnTo>
                      <a:pt x="747286" y="296682"/>
                    </a:lnTo>
                    <a:lnTo>
                      <a:pt x="746429" y="307850"/>
                    </a:lnTo>
                    <a:lnTo>
                      <a:pt x="725946" y="346817"/>
                    </a:lnTo>
                    <a:lnTo>
                      <a:pt x="434468" y="357507"/>
                    </a:lnTo>
                    <a:lnTo>
                      <a:pt x="407688" y="359579"/>
                    </a:lnTo>
                    <a:lnTo>
                      <a:pt x="364864" y="376144"/>
                    </a:lnTo>
                    <a:lnTo>
                      <a:pt x="336319" y="407591"/>
                    </a:lnTo>
                    <a:lnTo>
                      <a:pt x="322045" y="443790"/>
                    </a:lnTo>
                    <a:lnTo>
                      <a:pt x="320262" y="463022"/>
                    </a:lnTo>
                    <a:lnTo>
                      <a:pt x="322045" y="482272"/>
                    </a:lnTo>
                    <a:lnTo>
                      <a:pt x="336319" y="518466"/>
                    </a:lnTo>
                    <a:lnTo>
                      <a:pt x="364864" y="549907"/>
                    </a:lnTo>
                    <a:lnTo>
                      <a:pt x="407688" y="566460"/>
                    </a:lnTo>
                    <a:lnTo>
                      <a:pt x="434468" y="568527"/>
                    </a:lnTo>
                    <a:lnTo>
                      <a:pt x="692680" y="568527"/>
                    </a:lnTo>
                    <a:lnTo>
                      <a:pt x="740065" y="565893"/>
                    </a:lnTo>
                    <a:lnTo>
                      <a:pt x="782965" y="557986"/>
                    </a:lnTo>
                    <a:lnTo>
                      <a:pt x="821374" y="544801"/>
                    </a:lnTo>
                    <a:lnTo>
                      <a:pt x="855282" y="526329"/>
                    </a:lnTo>
                    <a:lnTo>
                      <a:pt x="909895" y="478853"/>
                    </a:lnTo>
                    <a:lnTo>
                      <a:pt x="947143" y="420814"/>
                    </a:lnTo>
                    <a:lnTo>
                      <a:pt x="966982" y="355029"/>
                    </a:lnTo>
                    <a:lnTo>
                      <a:pt x="970401" y="320275"/>
                    </a:lnTo>
                    <a:lnTo>
                      <a:pt x="969488" y="284274"/>
                    </a:lnTo>
                    <a:lnTo>
                      <a:pt x="955516" y="213520"/>
                    </a:lnTo>
                    <a:lnTo>
                      <a:pt x="926034" y="147723"/>
                    </a:lnTo>
                    <a:lnTo>
                      <a:pt x="880720" y="89694"/>
                    </a:lnTo>
                    <a:lnTo>
                      <a:pt x="852015" y="64633"/>
                    </a:lnTo>
                    <a:lnTo>
                      <a:pt x="819283" y="42197"/>
                    </a:lnTo>
                    <a:lnTo>
                      <a:pt x="782813" y="23743"/>
                    </a:lnTo>
                    <a:lnTo>
                      <a:pt x="742935" y="10555"/>
                    </a:lnTo>
                    <a:lnTo>
                      <a:pt x="699648" y="2639"/>
                    </a:lnTo>
                    <a:lnTo>
                      <a:pt x="652953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pic>
        <p:nvPicPr>
          <p:cNvPr id="126" name="object 35"/>
          <p:cNvPicPr>
            <a:picLocks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8" y="6490809"/>
            <a:ext cx="349623" cy="33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7" name="文本框 2"/>
          <p:cNvSpPr txBox="1"/>
          <p:nvPr userDrawn="1"/>
        </p:nvSpPr>
        <p:spPr>
          <a:xfrm>
            <a:off x="0" y="6457890"/>
            <a:ext cx="1932484" cy="400110"/>
          </a:xfrm>
          <a:prstGeom prst="rect">
            <a:avLst/>
          </a:prstGeom>
          <a:solidFill>
            <a:srgbClr val="0288E4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  <a:tabLst>
                <a:tab pos="1162050" algn="l"/>
              </a:tabLst>
            </a:pPr>
            <a:r>
              <a:rPr lang="zh-CN" altLang="en-US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核心商密 </a:t>
            </a:r>
            <a:r>
              <a:rPr lang="en-US" altLang="zh-CN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	</a:t>
            </a:r>
            <a:r>
              <a:rPr lang="zh-CN" altLang="en-US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长期</a:t>
            </a:r>
          </a:p>
          <a:p>
            <a:pPr>
              <a:lnSpc>
                <a:spcPts val="1200"/>
              </a:lnSpc>
              <a:tabLst>
                <a:tab pos="1162050" algn="l"/>
              </a:tabLst>
            </a:pPr>
            <a:r>
              <a:rPr lang="en-US" altLang="zh-CN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Secret 	</a:t>
            </a:r>
            <a:r>
              <a:rPr lang="en-US" altLang="zh-CN" sz="800" baseline="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zh-CN" altLang="en-US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Long-term</a:t>
            </a:r>
          </a:p>
        </p:txBody>
      </p:sp>
      <p:pic>
        <p:nvPicPr>
          <p:cNvPr id="128" name="object 35"/>
          <p:cNvPicPr>
            <a:picLocks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8" y="6508739"/>
            <a:ext cx="349623" cy="33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图片 4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804" b="4248"/>
          <a:stretch>
            <a:fillRect/>
          </a:stretch>
        </p:blipFill>
        <p:spPr>
          <a:xfrm>
            <a:off x="7149106" y="-3"/>
            <a:ext cx="5055335" cy="6858001"/>
          </a:xfrm>
          <a:prstGeom prst="rect">
            <a:avLst/>
          </a:prstGeom>
        </p:spPr>
      </p:pic>
      <p:pic>
        <p:nvPicPr>
          <p:cNvPr id="46" name="图片 4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29" b="4248"/>
          <a:stretch>
            <a:fillRect/>
          </a:stretch>
        </p:blipFill>
        <p:spPr>
          <a:xfrm>
            <a:off x="0" y="-2"/>
            <a:ext cx="2571455" cy="6858001"/>
          </a:xfrm>
          <a:prstGeom prst="rect">
            <a:avLst/>
          </a:prstGeom>
        </p:spPr>
      </p:pic>
      <p:grpSp>
        <p:nvGrpSpPr>
          <p:cNvPr id="47" name="组合 46"/>
          <p:cNvGrpSpPr/>
          <p:nvPr userDrawn="1"/>
        </p:nvGrpSpPr>
        <p:grpSpPr>
          <a:xfrm rot="17386124">
            <a:off x="6513064" y="2567916"/>
            <a:ext cx="6247247" cy="2267779"/>
            <a:chOff x="2154873" y="19858"/>
            <a:chExt cx="5938837" cy="2155825"/>
          </a:xfrm>
        </p:grpSpPr>
        <p:sp>
          <p:nvSpPr>
            <p:cNvPr id="48" name="object 11"/>
            <p:cNvSpPr>
              <a:spLocks noChangeArrowheads="1"/>
            </p:cNvSpPr>
            <p:nvPr/>
          </p:nvSpPr>
          <p:spPr bwMode="auto">
            <a:xfrm>
              <a:off x="2154873" y="522288"/>
              <a:ext cx="1417637" cy="990600"/>
            </a:xfrm>
            <a:custGeom>
              <a:avLst/>
              <a:gdLst>
                <a:gd name="T0" fmla="*/ 383098 w 1416684"/>
                <a:gd name="T1" fmla="*/ 0 h 991234"/>
                <a:gd name="T2" fmla="*/ 270292 w 1416684"/>
                <a:gd name="T3" fmla="*/ 16675 h 991234"/>
                <a:gd name="T4" fmla="*/ 139347 w 1416684"/>
                <a:gd name="T5" fmla="*/ 86936 h 991234"/>
                <a:gd name="T6" fmla="*/ 45929 w 1416684"/>
                <a:gd name="T7" fmla="*/ 200380 h 991234"/>
                <a:gd name="T8" fmla="*/ 1851 w 1416684"/>
                <a:gd name="T9" fmla="*/ 343867 h 991234"/>
                <a:gd name="T10" fmla="*/ 2353 w 1416684"/>
                <a:gd name="T11" fmla="*/ 890282 h 991234"/>
                <a:gd name="T12" fmla="*/ 57378 w 1416684"/>
                <a:gd name="T13" fmla="*/ 970549 h 991234"/>
                <a:gd name="T14" fmla="*/ 126551 w 1416684"/>
                <a:gd name="T15" fmla="*/ 991006 h 991234"/>
                <a:gd name="T16" fmla="*/ 198250 w 1416684"/>
                <a:gd name="T17" fmla="*/ 970549 h 991234"/>
                <a:gd name="T18" fmla="*/ 253458 w 1416684"/>
                <a:gd name="T19" fmla="*/ 890282 h 991234"/>
                <a:gd name="T20" fmla="*/ 259098 w 1416684"/>
                <a:gd name="T21" fmla="*/ 398470 h 991234"/>
                <a:gd name="T22" fmla="*/ 335851 w 1416684"/>
                <a:gd name="T23" fmla="*/ 285369 h 991234"/>
                <a:gd name="T24" fmla="*/ 433557 w 1416684"/>
                <a:gd name="T25" fmla="*/ 255835 h 991234"/>
                <a:gd name="T26" fmla="*/ 1386764 w 1416684"/>
                <a:gd name="T27" fmla="*/ 234286 h 991234"/>
                <a:gd name="T28" fmla="*/ 1305845 w 1416684"/>
                <a:gd name="T29" fmla="*/ 111755 h 991234"/>
                <a:gd name="T30" fmla="*/ 1184414 w 1416684"/>
                <a:gd name="T31" fmla="*/ 29632 h 991234"/>
                <a:gd name="T32" fmla="*/ 1074659 w 1416684"/>
                <a:gd name="T33" fmla="*/ 1854 h 991234"/>
                <a:gd name="T34" fmla="*/ 708240 w 1416684"/>
                <a:gd name="T35" fmla="*/ 323152 h 991234"/>
                <a:gd name="T36" fmla="*/ 616672 w 1416684"/>
                <a:gd name="T37" fmla="*/ 360858 h 991234"/>
                <a:gd name="T38" fmla="*/ 578977 w 1416684"/>
                <a:gd name="T39" fmla="*/ 452415 h 991234"/>
                <a:gd name="T40" fmla="*/ 588393 w 1416684"/>
                <a:gd name="T41" fmla="*/ 913927 h 991234"/>
                <a:gd name="T42" fmla="*/ 658396 w 1416684"/>
                <a:gd name="T43" fmla="*/ 981913 h 991234"/>
                <a:gd name="T44" fmla="*/ 734066 w 1416684"/>
                <a:gd name="T45" fmla="*/ 988733 h 991234"/>
                <a:gd name="T46" fmla="*/ 814355 w 1416684"/>
                <a:gd name="T47" fmla="*/ 935377 h 991234"/>
                <a:gd name="T48" fmla="*/ 834812 w 1416684"/>
                <a:gd name="T49" fmla="*/ 864434 h 991234"/>
                <a:gd name="T50" fmla="*/ 825717 w 1416684"/>
                <a:gd name="T51" fmla="*/ 402616 h 991234"/>
                <a:gd name="T52" fmla="*/ 757715 w 1416684"/>
                <a:gd name="T53" fmla="*/ 332581 h 991234"/>
                <a:gd name="T54" fmla="*/ 1394643 w 1416684"/>
                <a:gd name="T55" fmla="*/ 255835 h 991234"/>
                <a:gd name="T56" fmla="*/ 1018004 w 1416684"/>
                <a:gd name="T57" fmla="*/ 259116 h 991234"/>
                <a:gd name="T58" fmla="*/ 1108133 w 1416684"/>
                <a:gd name="T59" fmla="*/ 308346 h 991234"/>
                <a:gd name="T60" fmla="*/ 1160645 w 1416684"/>
                <a:gd name="T61" fmla="*/ 433567 h 991234"/>
                <a:gd name="T62" fmla="*/ 1162942 w 1416684"/>
                <a:gd name="T63" fmla="*/ 890282 h 991234"/>
                <a:gd name="T64" fmla="*/ 1216845 w 1416684"/>
                <a:gd name="T65" fmla="*/ 970549 h 991234"/>
                <a:gd name="T66" fmla="*/ 1288568 w 1416684"/>
                <a:gd name="T67" fmla="*/ 991006 h 991234"/>
                <a:gd name="T68" fmla="*/ 1360264 w 1416684"/>
                <a:gd name="T69" fmla="*/ 970549 h 991234"/>
                <a:gd name="T70" fmla="*/ 1414173 w 1416684"/>
                <a:gd name="T71" fmla="*/ 890282 h 991234"/>
                <a:gd name="T72" fmla="*/ 1416389 w 1416684"/>
                <a:gd name="T73" fmla="*/ 380732 h 991234"/>
                <a:gd name="T74" fmla="*/ 1409038 w 1416684"/>
                <a:gd name="T75" fmla="*/ 306338 h 991234"/>
                <a:gd name="T76" fmla="*/ 1394643 w 1416684"/>
                <a:gd name="T77" fmla="*/ 255835 h 99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16684" h="991234">
                  <a:moveTo>
                    <a:pt x="1036062" y="0"/>
                  </a:moveTo>
                  <a:lnTo>
                    <a:pt x="383098" y="0"/>
                  </a:lnTo>
                  <a:lnTo>
                    <a:pt x="344483" y="1854"/>
                  </a:lnTo>
                  <a:lnTo>
                    <a:pt x="270292" y="16675"/>
                  </a:lnTo>
                  <a:lnTo>
                    <a:pt x="200713" y="45881"/>
                  </a:lnTo>
                  <a:lnTo>
                    <a:pt x="139347" y="86936"/>
                  </a:lnTo>
                  <a:lnTo>
                    <a:pt x="87084" y="139111"/>
                  </a:lnTo>
                  <a:lnTo>
                    <a:pt x="45929" y="200380"/>
                  </a:lnTo>
                  <a:lnTo>
                    <a:pt x="16675" y="269811"/>
                  </a:lnTo>
                  <a:lnTo>
                    <a:pt x="1851" y="343867"/>
                  </a:lnTo>
                  <a:lnTo>
                    <a:pt x="0" y="864434"/>
                  </a:lnTo>
                  <a:lnTo>
                    <a:pt x="2353" y="890282"/>
                  </a:lnTo>
                  <a:lnTo>
                    <a:pt x="21194" y="935377"/>
                  </a:lnTo>
                  <a:lnTo>
                    <a:pt x="57378" y="970549"/>
                  </a:lnTo>
                  <a:lnTo>
                    <a:pt x="101807" y="988733"/>
                  </a:lnTo>
                  <a:lnTo>
                    <a:pt x="126551" y="991006"/>
                  </a:lnTo>
                  <a:lnTo>
                    <a:pt x="152467" y="988733"/>
                  </a:lnTo>
                  <a:lnTo>
                    <a:pt x="198250" y="970549"/>
                  </a:lnTo>
                  <a:lnTo>
                    <a:pt x="234615" y="935377"/>
                  </a:lnTo>
                  <a:lnTo>
                    <a:pt x="253458" y="890282"/>
                  </a:lnTo>
                  <a:lnTo>
                    <a:pt x="255814" y="433567"/>
                  </a:lnTo>
                  <a:lnTo>
                    <a:pt x="259098" y="398470"/>
                  </a:lnTo>
                  <a:lnTo>
                    <a:pt x="285357" y="335857"/>
                  </a:lnTo>
                  <a:lnTo>
                    <a:pt x="335851" y="285369"/>
                  </a:lnTo>
                  <a:lnTo>
                    <a:pt x="398462" y="259116"/>
                  </a:lnTo>
                  <a:lnTo>
                    <a:pt x="433557" y="255835"/>
                  </a:lnTo>
                  <a:lnTo>
                    <a:pt x="1394643" y="255835"/>
                  </a:lnTo>
                  <a:lnTo>
                    <a:pt x="1386764" y="234286"/>
                  </a:lnTo>
                  <a:lnTo>
                    <a:pt x="1351707" y="168654"/>
                  </a:lnTo>
                  <a:lnTo>
                    <a:pt x="1305845" y="111755"/>
                  </a:lnTo>
                  <a:lnTo>
                    <a:pt x="1249865" y="64981"/>
                  </a:lnTo>
                  <a:lnTo>
                    <a:pt x="1184414" y="29632"/>
                  </a:lnTo>
                  <a:lnTo>
                    <a:pt x="1112248" y="7414"/>
                  </a:lnTo>
                  <a:lnTo>
                    <a:pt x="1074659" y="1854"/>
                  </a:lnTo>
                  <a:lnTo>
                    <a:pt x="1036062" y="0"/>
                  </a:lnTo>
                  <a:close/>
                </a:path>
                <a:path w="1416684" h="991234">
                  <a:moveTo>
                    <a:pt x="708240" y="323152"/>
                  </a:moveTo>
                  <a:lnTo>
                    <a:pt x="658396" y="332581"/>
                  </a:lnTo>
                  <a:lnTo>
                    <a:pt x="616672" y="360858"/>
                  </a:lnTo>
                  <a:lnTo>
                    <a:pt x="588393" y="402616"/>
                  </a:lnTo>
                  <a:lnTo>
                    <a:pt x="578977" y="452415"/>
                  </a:lnTo>
                  <a:lnTo>
                    <a:pt x="578977" y="864434"/>
                  </a:lnTo>
                  <a:lnTo>
                    <a:pt x="588393" y="913927"/>
                  </a:lnTo>
                  <a:lnTo>
                    <a:pt x="616672" y="954641"/>
                  </a:lnTo>
                  <a:lnTo>
                    <a:pt x="658396" y="981913"/>
                  </a:lnTo>
                  <a:lnTo>
                    <a:pt x="708240" y="991006"/>
                  </a:lnTo>
                  <a:lnTo>
                    <a:pt x="734066" y="988733"/>
                  </a:lnTo>
                  <a:lnTo>
                    <a:pt x="779180" y="970549"/>
                  </a:lnTo>
                  <a:lnTo>
                    <a:pt x="814355" y="935377"/>
                  </a:lnTo>
                  <a:lnTo>
                    <a:pt x="832537" y="890282"/>
                  </a:lnTo>
                  <a:lnTo>
                    <a:pt x="834812" y="864434"/>
                  </a:lnTo>
                  <a:lnTo>
                    <a:pt x="834812" y="452415"/>
                  </a:lnTo>
                  <a:lnTo>
                    <a:pt x="825717" y="402616"/>
                  </a:lnTo>
                  <a:lnTo>
                    <a:pt x="798457" y="360858"/>
                  </a:lnTo>
                  <a:lnTo>
                    <a:pt x="757715" y="332581"/>
                  </a:lnTo>
                  <a:lnTo>
                    <a:pt x="708240" y="323152"/>
                  </a:lnTo>
                  <a:close/>
                </a:path>
                <a:path w="1416684" h="991234">
                  <a:moveTo>
                    <a:pt x="1394643" y="255835"/>
                  </a:moveTo>
                  <a:lnTo>
                    <a:pt x="982912" y="255835"/>
                  </a:lnTo>
                  <a:lnTo>
                    <a:pt x="1018004" y="259116"/>
                  </a:lnTo>
                  <a:lnTo>
                    <a:pt x="1050572" y="268960"/>
                  </a:lnTo>
                  <a:lnTo>
                    <a:pt x="1108133" y="308346"/>
                  </a:lnTo>
                  <a:lnTo>
                    <a:pt x="1147520" y="365899"/>
                  </a:lnTo>
                  <a:lnTo>
                    <a:pt x="1160645" y="433567"/>
                  </a:lnTo>
                  <a:lnTo>
                    <a:pt x="1160645" y="864434"/>
                  </a:lnTo>
                  <a:lnTo>
                    <a:pt x="1162942" y="890282"/>
                  </a:lnTo>
                  <a:lnTo>
                    <a:pt x="1181309" y="935377"/>
                  </a:lnTo>
                  <a:lnTo>
                    <a:pt x="1216845" y="970549"/>
                  </a:lnTo>
                  <a:lnTo>
                    <a:pt x="1262438" y="988733"/>
                  </a:lnTo>
                  <a:lnTo>
                    <a:pt x="1288568" y="991006"/>
                  </a:lnTo>
                  <a:lnTo>
                    <a:pt x="1314668" y="988733"/>
                  </a:lnTo>
                  <a:lnTo>
                    <a:pt x="1360264" y="970549"/>
                  </a:lnTo>
                  <a:lnTo>
                    <a:pt x="1395805" y="935377"/>
                  </a:lnTo>
                  <a:lnTo>
                    <a:pt x="1414173" y="890282"/>
                  </a:lnTo>
                  <a:lnTo>
                    <a:pt x="1416469" y="864434"/>
                  </a:lnTo>
                  <a:lnTo>
                    <a:pt x="1416389" y="380732"/>
                  </a:lnTo>
                  <a:lnTo>
                    <a:pt x="1414611" y="343867"/>
                  </a:lnTo>
                  <a:lnTo>
                    <a:pt x="1409038" y="306338"/>
                  </a:lnTo>
                  <a:lnTo>
                    <a:pt x="1399754" y="269811"/>
                  </a:lnTo>
                  <a:lnTo>
                    <a:pt x="1394643" y="255835"/>
                  </a:lnTo>
                  <a:close/>
                </a:path>
              </a:pathLst>
            </a:custGeom>
            <a:solidFill>
              <a:srgbClr val="028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9" name="object 12"/>
            <p:cNvSpPr>
              <a:spLocks noChangeArrowheads="1"/>
            </p:cNvSpPr>
            <p:nvPr/>
          </p:nvSpPr>
          <p:spPr bwMode="auto">
            <a:xfrm>
              <a:off x="3799523" y="522288"/>
              <a:ext cx="1157287" cy="990600"/>
            </a:xfrm>
            <a:custGeom>
              <a:avLst/>
              <a:gdLst>
                <a:gd name="T0" fmla="*/ 385967 w 1158240"/>
                <a:gd name="T1" fmla="*/ 0 h 991234"/>
                <a:gd name="T2" fmla="*/ 307701 w 1158240"/>
                <a:gd name="T3" fmla="*/ 7409 h 991234"/>
                <a:gd name="T4" fmla="*/ 200838 w 1158240"/>
                <a:gd name="T5" fmla="*/ 45871 h 991234"/>
                <a:gd name="T6" fmla="*/ 87119 w 1158240"/>
                <a:gd name="T7" fmla="*/ 139105 h 991234"/>
                <a:gd name="T8" fmla="*/ 16688 w 1158240"/>
                <a:gd name="T9" fmla="*/ 269805 h 991234"/>
                <a:gd name="T10" fmla="*/ 0 w 1158240"/>
                <a:gd name="T11" fmla="*/ 382396 h 991234"/>
                <a:gd name="T12" fmla="*/ 1854 w 1158240"/>
                <a:gd name="T13" fmla="*/ 648233 h 991234"/>
                <a:gd name="T14" fmla="*/ 29664 w 1158240"/>
                <a:gd name="T15" fmla="*/ 758050 h 991234"/>
                <a:gd name="T16" fmla="*/ 112007 w 1158240"/>
                <a:gd name="T17" fmla="*/ 879240 h 991234"/>
                <a:gd name="T18" fmla="*/ 234830 w 1158240"/>
                <a:gd name="T19" fmla="*/ 961363 h 991234"/>
                <a:gd name="T20" fmla="*/ 346159 w 1158240"/>
                <a:gd name="T21" fmla="*/ 989148 h 991234"/>
                <a:gd name="T22" fmla="*/ 774677 w 1158240"/>
                <a:gd name="T23" fmla="*/ 990996 h 991234"/>
                <a:gd name="T24" fmla="*/ 887529 w 1158240"/>
                <a:gd name="T25" fmla="*/ 974342 h 991234"/>
                <a:gd name="T26" fmla="*/ 1018538 w 1158240"/>
                <a:gd name="T27" fmla="*/ 904065 h 991234"/>
                <a:gd name="T28" fmla="*/ 1111984 w 1158240"/>
                <a:gd name="T29" fmla="*/ 791375 h 991234"/>
                <a:gd name="T30" fmla="*/ 436248 w 1158240"/>
                <a:gd name="T31" fmla="*/ 735160 h 991234"/>
                <a:gd name="T32" fmla="*/ 336019 w 1158240"/>
                <a:gd name="T33" fmla="*/ 706390 h 991234"/>
                <a:gd name="T34" fmla="*/ 259114 w 1158240"/>
                <a:gd name="T35" fmla="*/ 593624 h 991234"/>
                <a:gd name="T36" fmla="*/ 255835 w 1158240"/>
                <a:gd name="T37" fmla="*/ 433557 h 991234"/>
                <a:gd name="T38" fmla="*/ 308336 w 1158240"/>
                <a:gd name="T39" fmla="*/ 308336 h 991234"/>
                <a:gd name="T40" fmla="*/ 436248 w 1158240"/>
                <a:gd name="T41" fmla="*/ 255824 h 991234"/>
                <a:gd name="T42" fmla="*/ 1128248 w 1158240"/>
                <a:gd name="T43" fmla="*/ 234275 h 991234"/>
                <a:gd name="T44" fmla="*/ 1045957 w 1158240"/>
                <a:gd name="T45" fmla="*/ 111755 h 991234"/>
                <a:gd name="T46" fmla="*/ 923123 w 1158240"/>
                <a:gd name="T47" fmla="*/ 29622 h 991234"/>
                <a:gd name="T48" fmla="*/ 813305 w 1158240"/>
                <a:gd name="T49" fmla="*/ 1852 h 991234"/>
                <a:gd name="T50" fmla="*/ 1136123 w 1158240"/>
                <a:gd name="T51" fmla="*/ 255824 h 991234"/>
                <a:gd name="T52" fmla="*/ 756877 w 1158240"/>
                <a:gd name="T53" fmla="*/ 259107 h 991234"/>
                <a:gd name="T54" fmla="*/ 848267 w 1158240"/>
                <a:gd name="T55" fmla="*/ 308336 h 991234"/>
                <a:gd name="T56" fmla="*/ 902129 w 1158240"/>
                <a:gd name="T57" fmla="*/ 433557 h 991234"/>
                <a:gd name="T58" fmla="*/ 888662 w 1158240"/>
                <a:gd name="T59" fmla="*/ 626788 h 991234"/>
                <a:gd name="T60" fmla="*/ 789693 w 1158240"/>
                <a:gd name="T61" fmla="*/ 722377 h 991234"/>
                <a:gd name="T62" fmla="*/ 1136718 w 1158240"/>
                <a:gd name="T63" fmla="*/ 735160 h 991234"/>
                <a:gd name="T64" fmla="*/ 1150513 w 1158240"/>
                <a:gd name="T65" fmla="*/ 686356 h 991234"/>
                <a:gd name="T66" fmla="*/ 1157943 w 1158240"/>
                <a:gd name="T67" fmla="*/ 608599 h 991234"/>
                <a:gd name="T68" fmla="*/ 1156085 w 1158240"/>
                <a:gd name="T69" fmla="*/ 343862 h 991234"/>
                <a:gd name="T70" fmla="*/ 1141232 w 1158240"/>
                <a:gd name="T71" fmla="*/ 269805 h 99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58240" h="991234">
                  <a:moveTo>
                    <a:pt x="774677" y="0"/>
                  </a:moveTo>
                  <a:lnTo>
                    <a:pt x="385967" y="0"/>
                  </a:lnTo>
                  <a:lnTo>
                    <a:pt x="346159" y="1852"/>
                  </a:lnTo>
                  <a:lnTo>
                    <a:pt x="307701" y="7409"/>
                  </a:lnTo>
                  <a:lnTo>
                    <a:pt x="270592" y="16666"/>
                  </a:lnTo>
                  <a:lnTo>
                    <a:pt x="200838" y="45871"/>
                  </a:lnTo>
                  <a:lnTo>
                    <a:pt x="139426" y="86930"/>
                  </a:lnTo>
                  <a:lnTo>
                    <a:pt x="87119" y="139105"/>
                  </a:lnTo>
                  <a:lnTo>
                    <a:pt x="45940" y="200370"/>
                  </a:lnTo>
                  <a:lnTo>
                    <a:pt x="16688" y="269805"/>
                  </a:lnTo>
                  <a:lnTo>
                    <a:pt x="1854" y="343862"/>
                  </a:lnTo>
                  <a:lnTo>
                    <a:pt x="0" y="382396"/>
                  </a:lnTo>
                  <a:lnTo>
                    <a:pt x="0" y="608599"/>
                  </a:lnTo>
                  <a:lnTo>
                    <a:pt x="1854" y="648233"/>
                  </a:lnTo>
                  <a:lnTo>
                    <a:pt x="7418" y="686356"/>
                  </a:lnTo>
                  <a:lnTo>
                    <a:pt x="29664" y="758050"/>
                  </a:lnTo>
                  <a:lnTo>
                    <a:pt x="65094" y="822681"/>
                  </a:lnTo>
                  <a:lnTo>
                    <a:pt x="112007" y="879240"/>
                  </a:lnTo>
                  <a:lnTo>
                    <a:pt x="169036" y="926030"/>
                  </a:lnTo>
                  <a:lnTo>
                    <a:pt x="234830" y="961363"/>
                  </a:lnTo>
                  <a:lnTo>
                    <a:pt x="307701" y="983600"/>
                  </a:lnTo>
                  <a:lnTo>
                    <a:pt x="346159" y="989148"/>
                  </a:lnTo>
                  <a:lnTo>
                    <a:pt x="385967" y="990996"/>
                  </a:lnTo>
                  <a:lnTo>
                    <a:pt x="774677" y="990996"/>
                  </a:lnTo>
                  <a:lnTo>
                    <a:pt x="813305" y="989148"/>
                  </a:lnTo>
                  <a:lnTo>
                    <a:pt x="887529" y="974342"/>
                  </a:lnTo>
                  <a:lnTo>
                    <a:pt x="957122" y="945131"/>
                  </a:lnTo>
                  <a:lnTo>
                    <a:pt x="1018538" y="904065"/>
                  </a:lnTo>
                  <a:lnTo>
                    <a:pt x="1070838" y="851970"/>
                  </a:lnTo>
                  <a:lnTo>
                    <a:pt x="1111984" y="791375"/>
                  </a:lnTo>
                  <a:lnTo>
                    <a:pt x="1136718" y="735160"/>
                  </a:lnTo>
                  <a:lnTo>
                    <a:pt x="436248" y="735160"/>
                  </a:lnTo>
                  <a:lnTo>
                    <a:pt x="399972" y="731965"/>
                  </a:lnTo>
                  <a:lnTo>
                    <a:pt x="336019" y="706390"/>
                  </a:lnTo>
                  <a:lnTo>
                    <a:pt x="285361" y="656915"/>
                  </a:lnTo>
                  <a:lnTo>
                    <a:pt x="259114" y="593624"/>
                  </a:lnTo>
                  <a:lnTo>
                    <a:pt x="255835" y="557428"/>
                  </a:lnTo>
                  <a:lnTo>
                    <a:pt x="255835" y="433557"/>
                  </a:lnTo>
                  <a:lnTo>
                    <a:pt x="268955" y="365897"/>
                  </a:lnTo>
                  <a:lnTo>
                    <a:pt x="308336" y="308336"/>
                  </a:lnTo>
                  <a:lnTo>
                    <a:pt x="366563" y="268953"/>
                  </a:lnTo>
                  <a:lnTo>
                    <a:pt x="436248" y="255824"/>
                  </a:lnTo>
                  <a:lnTo>
                    <a:pt x="1136123" y="255824"/>
                  </a:lnTo>
                  <a:lnTo>
                    <a:pt x="1128248" y="234275"/>
                  </a:lnTo>
                  <a:lnTo>
                    <a:pt x="1092847" y="168645"/>
                  </a:lnTo>
                  <a:lnTo>
                    <a:pt x="1045957" y="111755"/>
                  </a:lnTo>
                  <a:lnTo>
                    <a:pt x="988926" y="64971"/>
                  </a:lnTo>
                  <a:lnTo>
                    <a:pt x="923123" y="29622"/>
                  </a:lnTo>
                  <a:lnTo>
                    <a:pt x="850923" y="7409"/>
                  </a:lnTo>
                  <a:lnTo>
                    <a:pt x="813305" y="1852"/>
                  </a:lnTo>
                  <a:lnTo>
                    <a:pt x="774677" y="0"/>
                  </a:lnTo>
                  <a:close/>
                </a:path>
                <a:path w="1158240" h="991234">
                  <a:moveTo>
                    <a:pt x="1136123" y="255824"/>
                  </a:moveTo>
                  <a:lnTo>
                    <a:pt x="721695" y="255824"/>
                  </a:lnTo>
                  <a:lnTo>
                    <a:pt x="756877" y="259107"/>
                  </a:lnTo>
                  <a:lnTo>
                    <a:pt x="789693" y="268953"/>
                  </a:lnTo>
                  <a:lnTo>
                    <a:pt x="848267" y="308336"/>
                  </a:lnTo>
                  <a:lnTo>
                    <a:pt x="888662" y="365897"/>
                  </a:lnTo>
                  <a:lnTo>
                    <a:pt x="902129" y="433557"/>
                  </a:lnTo>
                  <a:lnTo>
                    <a:pt x="902129" y="557428"/>
                  </a:lnTo>
                  <a:lnTo>
                    <a:pt x="888662" y="626788"/>
                  </a:lnTo>
                  <a:lnTo>
                    <a:pt x="848267" y="684000"/>
                  </a:lnTo>
                  <a:lnTo>
                    <a:pt x="789693" y="722377"/>
                  </a:lnTo>
                  <a:lnTo>
                    <a:pt x="721695" y="735160"/>
                  </a:lnTo>
                  <a:lnTo>
                    <a:pt x="1136718" y="735160"/>
                  </a:lnTo>
                  <a:lnTo>
                    <a:pt x="1141232" y="722962"/>
                  </a:lnTo>
                  <a:lnTo>
                    <a:pt x="1150513" y="686356"/>
                  </a:lnTo>
                  <a:lnTo>
                    <a:pt x="1156085" y="648233"/>
                  </a:lnTo>
                  <a:lnTo>
                    <a:pt x="1157943" y="608599"/>
                  </a:lnTo>
                  <a:lnTo>
                    <a:pt x="1157943" y="382396"/>
                  </a:lnTo>
                  <a:lnTo>
                    <a:pt x="1156085" y="343862"/>
                  </a:lnTo>
                  <a:lnTo>
                    <a:pt x="1150513" y="306333"/>
                  </a:lnTo>
                  <a:lnTo>
                    <a:pt x="1141232" y="269805"/>
                  </a:lnTo>
                  <a:lnTo>
                    <a:pt x="1136123" y="255824"/>
                  </a:lnTo>
                  <a:close/>
                </a:path>
              </a:pathLst>
            </a:custGeom>
            <a:solidFill>
              <a:srgbClr val="028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0" name="object 13"/>
            <p:cNvSpPr>
              <a:spLocks noChangeArrowheads="1"/>
            </p:cNvSpPr>
            <p:nvPr/>
          </p:nvSpPr>
          <p:spPr bwMode="auto">
            <a:xfrm>
              <a:off x="5139993" y="19858"/>
              <a:ext cx="1695450" cy="2155825"/>
            </a:xfrm>
            <a:custGeom>
              <a:avLst/>
              <a:gdLst>
                <a:gd name="T0" fmla="*/ 1196517 w 1686559"/>
                <a:gd name="T1" fmla="*/ 852830 h 2154554"/>
                <a:gd name="T2" fmla="*/ 1152398 w 1686559"/>
                <a:gd name="T3" fmla="*/ 709422 h 2154554"/>
                <a:gd name="T4" fmla="*/ 1058494 w 1686559"/>
                <a:gd name="T5" fmla="*/ 596658 h 2154554"/>
                <a:gd name="T6" fmla="*/ 928547 w 1686559"/>
                <a:gd name="T7" fmla="*/ 525640 h 2154554"/>
                <a:gd name="T8" fmla="*/ 815962 w 1686559"/>
                <a:gd name="T9" fmla="*/ 508965 h 2154554"/>
                <a:gd name="T10" fmla="*/ 416052 w 1686559"/>
                <a:gd name="T11" fmla="*/ 518401 h 2154554"/>
                <a:gd name="T12" fmla="*/ 346049 w 1686559"/>
                <a:gd name="T13" fmla="*/ 587756 h 2154554"/>
                <a:gd name="T14" fmla="*/ 338975 w 1686559"/>
                <a:gd name="T15" fmla="*/ 661466 h 2154554"/>
                <a:gd name="T16" fmla="*/ 394182 w 1686559"/>
                <a:gd name="T17" fmla="*/ 743597 h 2154554"/>
                <a:gd name="T18" fmla="*/ 815962 w 1686559"/>
                <a:gd name="T19" fmla="*/ 764794 h 2154554"/>
                <a:gd name="T20" fmla="*/ 885126 w 1686559"/>
                <a:gd name="T21" fmla="*/ 786003 h 2154554"/>
                <a:gd name="T22" fmla="*/ 940181 w 1686559"/>
                <a:gd name="T23" fmla="*/ 865619 h 2154554"/>
                <a:gd name="T24" fmla="*/ 942530 w 1686559"/>
                <a:gd name="T25" fmla="*/ 1117561 h 2154554"/>
                <a:gd name="T26" fmla="*/ 904824 w 1686559"/>
                <a:gd name="T27" fmla="*/ 1206436 h 2154554"/>
                <a:gd name="T28" fmla="*/ 815962 w 1686559"/>
                <a:gd name="T29" fmla="*/ 1244142 h 2154554"/>
                <a:gd name="T30" fmla="*/ 335267 w 1686559"/>
                <a:gd name="T31" fmla="*/ 1234719 h 2154554"/>
                <a:gd name="T32" fmla="*/ 264579 w 1686559"/>
                <a:gd name="T33" fmla="*/ 1168057 h 2154554"/>
                <a:gd name="T34" fmla="*/ 255828 w 1686559"/>
                <a:gd name="T35" fmla="*/ 126568 h 2154554"/>
                <a:gd name="T36" fmla="*/ 234619 w 1686559"/>
                <a:gd name="T37" fmla="*/ 55638 h 2154554"/>
                <a:gd name="T38" fmla="*/ 152476 w 1686559"/>
                <a:gd name="T39" fmla="*/ 2273 h 2154554"/>
                <a:gd name="T40" fmla="*/ 100723 w 1686559"/>
                <a:gd name="T41" fmla="*/ 2273 h 2154554"/>
                <a:gd name="T42" fmla="*/ 20459 w 1686559"/>
                <a:gd name="T43" fmla="*/ 55638 h 2154554"/>
                <a:gd name="T44" fmla="*/ 0 w 1686559"/>
                <a:gd name="T45" fmla="*/ 126568 h 2154554"/>
                <a:gd name="T46" fmla="*/ 1841 w 1686559"/>
                <a:gd name="T47" fmla="*/ 1156119 h 2154554"/>
                <a:gd name="T48" fmla="*/ 45948 w 1686559"/>
                <a:gd name="T49" fmla="*/ 1299692 h 2154554"/>
                <a:gd name="T50" fmla="*/ 139776 w 1686559"/>
                <a:gd name="T51" fmla="*/ 1413802 h 2154554"/>
                <a:gd name="T52" fmla="*/ 268033 w 1686559"/>
                <a:gd name="T53" fmla="*/ 1483309 h 2154554"/>
                <a:gd name="T54" fmla="*/ 382409 w 1686559"/>
                <a:gd name="T55" fmla="*/ 1499958 h 2154554"/>
                <a:gd name="T56" fmla="*/ 854494 w 1686559"/>
                <a:gd name="T57" fmla="*/ 1498117 h 2154554"/>
                <a:gd name="T58" fmla="*/ 997902 w 1686559"/>
                <a:gd name="T59" fmla="*/ 1454200 h 2154554"/>
                <a:gd name="T60" fmla="*/ 1110665 w 1686559"/>
                <a:gd name="T61" fmla="*/ 1361630 h 2154554"/>
                <a:gd name="T62" fmla="*/ 1181696 w 1686559"/>
                <a:gd name="T63" fmla="*/ 1230172 h 2154554"/>
                <a:gd name="T64" fmla="*/ 1198372 w 1686559"/>
                <a:gd name="T65" fmla="*/ 1117561 h 2154554"/>
                <a:gd name="T66" fmla="*/ 1686039 w 1686559"/>
                <a:gd name="T67" fmla="*/ 654380 h 2154554"/>
                <a:gd name="T68" fmla="*/ 1649679 w 1686559"/>
                <a:gd name="T69" fmla="*/ 565518 h 2154554"/>
                <a:gd name="T70" fmla="*/ 1559471 w 1686559"/>
                <a:gd name="T71" fmla="*/ 527812 h 2154554"/>
                <a:gd name="T72" fmla="*/ 1487766 w 1686559"/>
                <a:gd name="T73" fmla="*/ 549033 h 2154554"/>
                <a:gd name="T74" fmla="*/ 1432560 w 1686559"/>
                <a:gd name="T75" fmla="*/ 629653 h 2154554"/>
                <a:gd name="T76" fmla="*/ 1430197 w 1686559"/>
                <a:gd name="T77" fmla="*/ 1771954 h 2154554"/>
                <a:gd name="T78" fmla="*/ 1410512 w 1686559"/>
                <a:gd name="T79" fmla="*/ 1844649 h 2154554"/>
                <a:gd name="T80" fmla="*/ 1332077 w 1686559"/>
                <a:gd name="T81" fmla="*/ 1896325 h 2154554"/>
                <a:gd name="T82" fmla="*/ 1136688 w 1686559"/>
                <a:gd name="T83" fmla="*/ 1898510 h 2154554"/>
                <a:gd name="T84" fmla="*/ 1066507 w 1686559"/>
                <a:gd name="T85" fmla="*/ 1919706 h 2154554"/>
                <a:gd name="T86" fmla="*/ 1014996 w 1686559"/>
                <a:gd name="T87" fmla="*/ 2001837 h 2154554"/>
                <a:gd name="T88" fmla="*/ 1014996 w 1686559"/>
                <a:gd name="T89" fmla="*/ 2053602 h 2154554"/>
                <a:gd name="T90" fmla="*/ 1066507 w 1686559"/>
                <a:gd name="T91" fmla="*/ 2133904 h 2154554"/>
                <a:gd name="T92" fmla="*/ 1136688 w 1686559"/>
                <a:gd name="T93" fmla="*/ 2154351 h 2154554"/>
                <a:gd name="T94" fmla="*/ 1344790 w 1686559"/>
                <a:gd name="T95" fmla="*/ 2152497 h 2154554"/>
                <a:gd name="T96" fmla="*/ 1486522 w 1686559"/>
                <a:gd name="T97" fmla="*/ 2108377 h 2154554"/>
                <a:gd name="T98" fmla="*/ 1609369 w 1686559"/>
                <a:gd name="T99" fmla="*/ 2004580 h 2154554"/>
                <a:gd name="T100" fmla="*/ 1658442 w 1686559"/>
                <a:gd name="T101" fmla="*/ 1921395 h 2154554"/>
                <a:gd name="T102" fmla="*/ 1682965 w 1686559"/>
                <a:gd name="T103" fmla="*/ 1825053 h 2154554"/>
                <a:gd name="T104" fmla="*/ 1686039 w 1686559"/>
                <a:gd name="T105" fmla="*/ 654380 h 2154554"/>
                <a:gd name="T106" fmla="*/ 1676946 w 1686559"/>
                <a:gd name="T107" fmla="*/ 189395 h 2154554"/>
                <a:gd name="T108" fmla="*/ 1608963 w 1686559"/>
                <a:gd name="T109" fmla="*/ 122097 h 2154554"/>
                <a:gd name="T110" fmla="*/ 1533537 w 1686559"/>
                <a:gd name="T111" fmla="*/ 115354 h 2154554"/>
                <a:gd name="T112" fmla="*/ 1451406 w 1686559"/>
                <a:gd name="T113" fmla="*/ 168160 h 2154554"/>
                <a:gd name="T114" fmla="*/ 1430197 w 1686559"/>
                <a:gd name="T115" fmla="*/ 238379 h 2154554"/>
                <a:gd name="T116" fmla="*/ 1439621 w 1686559"/>
                <a:gd name="T117" fmla="*/ 290347 h 2154554"/>
                <a:gd name="T118" fmla="*/ 1509636 w 1686559"/>
                <a:gd name="T119" fmla="*/ 359625 h 2154554"/>
                <a:gd name="T120" fmla="*/ 1585302 w 1686559"/>
                <a:gd name="T121" fmla="*/ 366610 h 2154554"/>
                <a:gd name="T122" fmla="*/ 1665592 w 1686559"/>
                <a:gd name="T123" fmla="*/ 312000 h 2154554"/>
                <a:gd name="T124" fmla="*/ 1686039 w 1686559"/>
                <a:gd name="T125" fmla="*/ 241020 h 2154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86559" h="2154554">
                  <a:moveTo>
                    <a:pt x="1198372" y="891362"/>
                  </a:moveTo>
                  <a:lnTo>
                    <a:pt x="1196517" y="852830"/>
                  </a:lnTo>
                  <a:lnTo>
                    <a:pt x="1181696" y="778776"/>
                  </a:lnTo>
                  <a:lnTo>
                    <a:pt x="1152398" y="709422"/>
                  </a:lnTo>
                  <a:lnTo>
                    <a:pt x="1110665" y="648843"/>
                  </a:lnTo>
                  <a:lnTo>
                    <a:pt x="1058494" y="596658"/>
                  </a:lnTo>
                  <a:lnTo>
                    <a:pt x="997902" y="554926"/>
                  </a:lnTo>
                  <a:lnTo>
                    <a:pt x="928547" y="525640"/>
                  </a:lnTo>
                  <a:lnTo>
                    <a:pt x="854494" y="510819"/>
                  </a:lnTo>
                  <a:lnTo>
                    <a:pt x="815962" y="508965"/>
                  </a:lnTo>
                  <a:lnTo>
                    <a:pt x="465886" y="508965"/>
                  </a:lnTo>
                  <a:lnTo>
                    <a:pt x="416052" y="518401"/>
                  </a:lnTo>
                  <a:lnTo>
                    <a:pt x="374332" y="546658"/>
                  </a:lnTo>
                  <a:lnTo>
                    <a:pt x="346049" y="587756"/>
                  </a:lnTo>
                  <a:lnTo>
                    <a:pt x="336626" y="635533"/>
                  </a:lnTo>
                  <a:lnTo>
                    <a:pt x="338975" y="661466"/>
                  </a:lnTo>
                  <a:lnTo>
                    <a:pt x="357822" y="707237"/>
                  </a:lnTo>
                  <a:lnTo>
                    <a:pt x="394182" y="743597"/>
                  </a:lnTo>
                  <a:lnTo>
                    <a:pt x="439953" y="762444"/>
                  </a:lnTo>
                  <a:lnTo>
                    <a:pt x="815962" y="764794"/>
                  </a:lnTo>
                  <a:lnTo>
                    <a:pt x="840689" y="767156"/>
                  </a:lnTo>
                  <a:lnTo>
                    <a:pt x="885126" y="786003"/>
                  </a:lnTo>
                  <a:lnTo>
                    <a:pt x="921321" y="821182"/>
                  </a:lnTo>
                  <a:lnTo>
                    <a:pt x="940181" y="865619"/>
                  </a:lnTo>
                  <a:lnTo>
                    <a:pt x="942530" y="891362"/>
                  </a:lnTo>
                  <a:lnTo>
                    <a:pt x="942530" y="1117561"/>
                  </a:lnTo>
                  <a:lnTo>
                    <a:pt x="933107" y="1169416"/>
                  </a:lnTo>
                  <a:lnTo>
                    <a:pt x="904824" y="1206436"/>
                  </a:lnTo>
                  <a:lnTo>
                    <a:pt x="863752" y="1234719"/>
                  </a:lnTo>
                  <a:lnTo>
                    <a:pt x="815962" y="1244142"/>
                  </a:lnTo>
                  <a:lnTo>
                    <a:pt x="382409" y="1244142"/>
                  </a:lnTo>
                  <a:lnTo>
                    <a:pt x="335267" y="1234719"/>
                  </a:lnTo>
                  <a:lnTo>
                    <a:pt x="290842" y="1206436"/>
                  </a:lnTo>
                  <a:lnTo>
                    <a:pt x="264579" y="1168057"/>
                  </a:lnTo>
                  <a:lnTo>
                    <a:pt x="255828" y="1117561"/>
                  </a:lnTo>
                  <a:lnTo>
                    <a:pt x="255828" y="126568"/>
                  </a:lnTo>
                  <a:lnTo>
                    <a:pt x="253479" y="100749"/>
                  </a:lnTo>
                  <a:lnTo>
                    <a:pt x="234619" y="55638"/>
                  </a:lnTo>
                  <a:lnTo>
                    <a:pt x="198259" y="20447"/>
                  </a:lnTo>
                  <a:lnTo>
                    <a:pt x="152476" y="2273"/>
                  </a:lnTo>
                  <a:lnTo>
                    <a:pt x="126568" y="0"/>
                  </a:lnTo>
                  <a:lnTo>
                    <a:pt x="100723" y="2273"/>
                  </a:lnTo>
                  <a:lnTo>
                    <a:pt x="55626" y="20447"/>
                  </a:lnTo>
                  <a:lnTo>
                    <a:pt x="20459" y="55638"/>
                  </a:lnTo>
                  <a:lnTo>
                    <a:pt x="2273" y="100749"/>
                  </a:lnTo>
                  <a:lnTo>
                    <a:pt x="0" y="126568"/>
                  </a:lnTo>
                  <a:lnTo>
                    <a:pt x="0" y="1117561"/>
                  </a:lnTo>
                  <a:lnTo>
                    <a:pt x="1841" y="1156119"/>
                  </a:lnTo>
                  <a:lnTo>
                    <a:pt x="16662" y="1230172"/>
                  </a:lnTo>
                  <a:lnTo>
                    <a:pt x="45948" y="1299692"/>
                  </a:lnTo>
                  <a:lnTo>
                    <a:pt x="87680" y="1361630"/>
                  </a:lnTo>
                  <a:lnTo>
                    <a:pt x="139776" y="1413802"/>
                  </a:lnTo>
                  <a:lnTo>
                    <a:pt x="199694" y="1454200"/>
                  </a:lnTo>
                  <a:lnTo>
                    <a:pt x="268033" y="1483309"/>
                  </a:lnTo>
                  <a:lnTo>
                    <a:pt x="342760" y="1498117"/>
                  </a:lnTo>
                  <a:lnTo>
                    <a:pt x="382409" y="1499958"/>
                  </a:lnTo>
                  <a:lnTo>
                    <a:pt x="815962" y="1499958"/>
                  </a:lnTo>
                  <a:lnTo>
                    <a:pt x="854494" y="1498117"/>
                  </a:lnTo>
                  <a:lnTo>
                    <a:pt x="928547" y="1483309"/>
                  </a:lnTo>
                  <a:lnTo>
                    <a:pt x="997902" y="1454200"/>
                  </a:lnTo>
                  <a:lnTo>
                    <a:pt x="1058494" y="1413802"/>
                  </a:lnTo>
                  <a:lnTo>
                    <a:pt x="1110665" y="1361630"/>
                  </a:lnTo>
                  <a:lnTo>
                    <a:pt x="1152398" y="1299692"/>
                  </a:lnTo>
                  <a:lnTo>
                    <a:pt x="1181696" y="1230172"/>
                  </a:lnTo>
                  <a:lnTo>
                    <a:pt x="1196517" y="1156119"/>
                  </a:lnTo>
                  <a:lnTo>
                    <a:pt x="1198372" y="1117561"/>
                  </a:lnTo>
                  <a:lnTo>
                    <a:pt x="1198372" y="891362"/>
                  </a:lnTo>
                  <a:close/>
                </a:path>
                <a:path w="1686559" h="2154554">
                  <a:moveTo>
                    <a:pt x="1686039" y="654380"/>
                  </a:moveTo>
                  <a:lnTo>
                    <a:pt x="1676946" y="606602"/>
                  </a:lnTo>
                  <a:lnTo>
                    <a:pt x="1649679" y="565518"/>
                  </a:lnTo>
                  <a:lnTo>
                    <a:pt x="1608963" y="537248"/>
                  </a:lnTo>
                  <a:lnTo>
                    <a:pt x="1559471" y="527812"/>
                  </a:lnTo>
                  <a:lnTo>
                    <a:pt x="1533537" y="530174"/>
                  </a:lnTo>
                  <a:lnTo>
                    <a:pt x="1487766" y="549033"/>
                  </a:lnTo>
                  <a:lnTo>
                    <a:pt x="1451406" y="585228"/>
                  </a:lnTo>
                  <a:lnTo>
                    <a:pt x="1432560" y="629653"/>
                  </a:lnTo>
                  <a:lnTo>
                    <a:pt x="1430197" y="654380"/>
                  </a:lnTo>
                  <a:lnTo>
                    <a:pt x="1430197" y="1771954"/>
                  </a:lnTo>
                  <a:lnTo>
                    <a:pt x="1428013" y="1798878"/>
                  </a:lnTo>
                  <a:lnTo>
                    <a:pt x="1410512" y="1844649"/>
                  </a:lnTo>
                  <a:lnTo>
                    <a:pt x="1376514" y="1878812"/>
                  </a:lnTo>
                  <a:lnTo>
                    <a:pt x="1332077" y="1896325"/>
                  </a:lnTo>
                  <a:lnTo>
                    <a:pt x="1306347" y="1898510"/>
                  </a:lnTo>
                  <a:lnTo>
                    <a:pt x="1136688" y="1898510"/>
                  </a:lnTo>
                  <a:lnTo>
                    <a:pt x="1110932" y="1900859"/>
                  </a:lnTo>
                  <a:lnTo>
                    <a:pt x="1066507" y="1919706"/>
                  </a:lnTo>
                  <a:lnTo>
                    <a:pt x="1032510" y="1956066"/>
                  </a:lnTo>
                  <a:lnTo>
                    <a:pt x="1014996" y="2001837"/>
                  </a:lnTo>
                  <a:lnTo>
                    <a:pt x="1012799" y="2027770"/>
                  </a:lnTo>
                  <a:lnTo>
                    <a:pt x="1014996" y="2053602"/>
                  </a:lnTo>
                  <a:lnTo>
                    <a:pt x="1032510" y="2098713"/>
                  </a:lnTo>
                  <a:lnTo>
                    <a:pt x="1066507" y="2133904"/>
                  </a:lnTo>
                  <a:lnTo>
                    <a:pt x="1110932" y="2152078"/>
                  </a:lnTo>
                  <a:lnTo>
                    <a:pt x="1136688" y="2154351"/>
                  </a:lnTo>
                  <a:lnTo>
                    <a:pt x="1306347" y="2154351"/>
                  </a:lnTo>
                  <a:lnTo>
                    <a:pt x="1344790" y="2152497"/>
                  </a:lnTo>
                  <a:lnTo>
                    <a:pt x="1418183" y="2137676"/>
                  </a:lnTo>
                  <a:lnTo>
                    <a:pt x="1486522" y="2108377"/>
                  </a:lnTo>
                  <a:lnTo>
                    <a:pt x="1547774" y="2066645"/>
                  </a:lnTo>
                  <a:lnTo>
                    <a:pt x="1609369" y="2004580"/>
                  </a:lnTo>
                  <a:lnTo>
                    <a:pt x="1636966" y="1964639"/>
                  </a:lnTo>
                  <a:lnTo>
                    <a:pt x="1658442" y="1921395"/>
                  </a:lnTo>
                  <a:lnTo>
                    <a:pt x="1673771" y="1874862"/>
                  </a:lnTo>
                  <a:lnTo>
                    <a:pt x="1682965" y="1825053"/>
                  </a:lnTo>
                  <a:lnTo>
                    <a:pt x="1686039" y="1771954"/>
                  </a:lnTo>
                  <a:lnTo>
                    <a:pt x="1686039" y="654380"/>
                  </a:lnTo>
                  <a:close/>
                </a:path>
                <a:path w="1686559" h="2154554">
                  <a:moveTo>
                    <a:pt x="1686039" y="238379"/>
                  </a:moveTo>
                  <a:lnTo>
                    <a:pt x="1676946" y="189395"/>
                  </a:lnTo>
                  <a:lnTo>
                    <a:pt x="1649679" y="149085"/>
                  </a:lnTo>
                  <a:lnTo>
                    <a:pt x="1608963" y="122097"/>
                  </a:lnTo>
                  <a:lnTo>
                    <a:pt x="1559471" y="113106"/>
                  </a:lnTo>
                  <a:lnTo>
                    <a:pt x="1533537" y="115354"/>
                  </a:lnTo>
                  <a:lnTo>
                    <a:pt x="1487766" y="133337"/>
                  </a:lnTo>
                  <a:lnTo>
                    <a:pt x="1451406" y="168160"/>
                  </a:lnTo>
                  <a:lnTo>
                    <a:pt x="1432560" y="212801"/>
                  </a:lnTo>
                  <a:lnTo>
                    <a:pt x="1430197" y="238379"/>
                  </a:lnTo>
                  <a:lnTo>
                    <a:pt x="1430197" y="241020"/>
                  </a:lnTo>
                  <a:lnTo>
                    <a:pt x="1439621" y="290347"/>
                  </a:lnTo>
                  <a:lnTo>
                    <a:pt x="1467904" y="331660"/>
                  </a:lnTo>
                  <a:lnTo>
                    <a:pt x="1509636" y="359625"/>
                  </a:lnTo>
                  <a:lnTo>
                    <a:pt x="1559471" y="368935"/>
                  </a:lnTo>
                  <a:lnTo>
                    <a:pt x="1585302" y="366610"/>
                  </a:lnTo>
                  <a:lnTo>
                    <a:pt x="1630413" y="347967"/>
                  </a:lnTo>
                  <a:lnTo>
                    <a:pt x="1665592" y="312000"/>
                  </a:lnTo>
                  <a:lnTo>
                    <a:pt x="1683766" y="266687"/>
                  </a:lnTo>
                  <a:lnTo>
                    <a:pt x="1686039" y="241020"/>
                  </a:lnTo>
                  <a:lnTo>
                    <a:pt x="1686039" y="238379"/>
                  </a:lnTo>
                  <a:close/>
                </a:path>
              </a:pathLst>
            </a:custGeom>
            <a:solidFill>
              <a:srgbClr val="028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1" name="object 14"/>
            <p:cNvSpPr>
              <a:spLocks noChangeArrowheads="1"/>
            </p:cNvSpPr>
            <p:nvPr/>
          </p:nvSpPr>
          <p:spPr bwMode="auto">
            <a:xfrm>
              <a:off x="7034848" y="522288"/>
              <a:ext cx="1058862" cy="990600"/>
            </a:xfrm>
            <a:custGeom>
              <a:avLst/>
              <a:gdLst>
                <a:gd name="T0" fmla="*/ 363549 w 1058544"/>
                <a:gd name="T1" fmla="*/ 0 h 991234"/>
                <a:gd name="T2" fmla="*/ 250694 w 1058544"/>
                <a:gd name="T3" fmla="*/ 15160 h 991234"/>
                <a:gd name="T4" fmla="*/ 127662 w 1058544"/>
                <a:gd name="T5" fmla="*/ 77934 h 991234"/>
                <a:gd name="T6" fmla="*/ 41731 w 1058544"/>
                <a:gd name="T7" fmla="*/ 175891 h 991234"/>
                <a:gd name="T8" fmla="*/ 1681 w 1058544"/>
                <a:gd name="T9" fmla="*/ 298085 h 991234"/>
                <a:gd name="T10" fmla="*/ 0 w 1058544"/>
                <a:gd name="T11" fmla="*/ 632839 h 991234"/>
                <a:gd name="T12" fmla="*/ 9091 w 1058544"/>
                <a:gd name="T13" fmla="*/ 720377 h 991234"/>
                <a:gd name="T14" fmla="*/ 36354 w 1058544"/>
                <a:gd name="T15" fmla="*/ 794415 h 991234"/>
                <a:gd name="T16" fmla="*/ 126572 w 1058544"/>
                <a:gd name="T17" fmla="*/ 906171 h 991234"/>
                <a:gd name="T18" fmla="*/ 242369 w 1058544"/>
                <a:gd name="T19" fmla="*/ 970797 h 991234"/>
                <a:gd name="T20" fmla="*/ 358156 w 1058544"/>
                <a:gd name="T21" fmla="*/ 991006 h 991234"/>
                <a:gd name="T22" fmla="*/ 978864 w 1058544"/>
                <a:gd name="T23" fmla="*/ 981913 h 991234"/>
                <a:gd name="T24" fmla="*/ 1048890 w 1058544"/>
                <a:gd name="T25" fmla="*/ 913919 h 991234"/>
                <a:gd name="T26" fmla="*/ 1055964 w 1058544"/>
                <a:gd name="T27" fmla="*/ 838522 h 991234"/>
                <a:gd name="T28" fmla="*/ 1000747 w 1058544"/>
                <a:gd name="T29" fmla="*/ 756382 h 991234"/>
                <a:gd name="T30" fmla="*/ 433557 w 1058544"/>
                <a:gd name="T31" fmla="*/ 735160 h 991234"/>
                <a:gd name="T32" fmla="*/ 323477 w 1058544"/>
                <a:gd name="T33" fmla="*/ 711700 h 991234"/>
                <a:gd name="T34" fmla="*/ 258515 w 1058544"/>
                <a:gd name="T35" fmla="*/ 601288 h 991234"/>
                <a:gd name="T36" fmla="*/ 255824 w 1058544"/>
                <a:gd name="T37" fmla="*/ 420091 h 991234"/>
                <a:gd name="T38" fmla="*/ 279294 w 1058544"/>
                <a:gd name="T39" fmla="*/ 317350 h 991234"/>
                <a:gd name="T40" fmla="*/ 377597 w 1058544"/>
                <a:gd name="T41" fmla="*/ 258269 h 991234"/>
                <a:gd name="T42" fmla="*/ 751338 w 1058544"/>
                <a:gd name="T43" fmla="*/ 255824 h 991234"/>
                <a:gd name="T44" fmla="*/ 810582 w 1058544"/>
                <a:gd name="T45" fmla="*/ 321801 h 991234"/>
                <a:gd name="T46" fmla="*/ 787428 w 1058544"/>
                <a:gd name="T47" fmla="*/ 376187 h 991234"/>
                <a:gd name="T48" fmla="*/ 442215 w 1058544"/>
                <a:gd name="T49" fmla="*/ 390027 h 991234"/>
                <a:gd name="T50" fmla="*/ 364804 w 1058544"/>
                <a:gd name="T51" fmla="*/ 442110 h 991234"/>
                <a:gd name="T52" fmla="*/ 347382 w 1058544"/>
                <a:gd name="T53" fmla="*/ 502236 h 991234"/>
                <a:gd name="T54" fmla="*/ 364804 w 1058544"/>
                <a:gd name="T55" fmla="*/ 562370 h 991234"/>
                <a:gd name="T56" fmla="*/ 442215 w 1058544"/>
                <a:gd name="T57" fmla="*/ 614430 h 991234"/>
                <a:gd name="T58" fmla="*/ 751338 w 1058544"/>
                <a:gd name="T59" fmla="*/ 616672 h 991234"/>
                <a:gd name="T60" fmla="*/ 849273 w 1058544"/>
                <a:gd name="T61" fmla="*/ 605240 h 991234"/>
                <a:gd name="T62" fmla="*/ 927709 w 1058544"/>
                <a:gd name="T63" fmla="*/ 570893 h 991234"/>
                <a:gd name="T64" fmla="*/ 986950 w 1058544"/>
                <a:gd name="T65" fmla="*/ 519403 h 991234"/>
                <a:gd name="T66" fmla="*/ 1048879 w 1058544"/>
                <a:gd name="T67" fmla="*/ 385092 h 991234"/>
                <a:gd name="T68" fmla="*/ 1051591 w 1058544"/>
                <a:gd name="T69" fmla="*/ 308336 h 991234"/>
                <a:gd name="T70" fmla="*/ 1036440 w 1058544"/>
                <a:gd name="T71" fmla="*/ 231598 h 991234"/>
                <a:gd name="T72" fmla="*/ 1004461 w 1058544"/>
                <a:gd name="T73" fmla="*/ 160225 h 991234"/>
                <a:gd name="T74" fmla="*/ 955307 w 1058544"/>
                <a:gd name="T75" fmla="*/ 97288 h 991234"/>
                <a:gd name="T76" fmla="*/ 888664 w 1058544"/>
                <a:gd name="T77" fmla="*/ 45778 h 991234"/>
                <a:gd name="T78" fmla="*/ 805855 w 1058544"/>
                <a:gd name="T79" fmla="*/ 11447 h 991234"/>
                <a:gd name="T80" fmla="*/ 708250 w 1058544"/>
                <a:gd name="T81" fmla="*/ 0 h 99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8544" h="991234">
                  <a:moveTo>
                    <a:pt x="708250" y="0"/>
                  </a:moveTo>
                  <a:lnTo>
                    <a:pt x="363549" y="0"/>
                  </a:lnTo>
                  <a:lnTo>
                    <a:pt x="324077" y="1687"/>
                  </a:lnTo>
                  <a:lnTo>
                    <a:pt x="250694" y="15160"/>
                  </a:lnTo>
                  <a:lnTo>
                    <a:pt x="184880" y="41581"/>
                  </a:lnTo>
                  <a:lnTo>
                    <a:pt x="127662" y="77934"/>
                  </a:lnTo>
                  <a:lnTo>
                    <a:pt x="79439" y="123384"/>
                  </a:lnTo>
                  <a:lnTo>
                    <a:pt x="41731" y="175891"/>
                  </a:lnTo>
                  <a:lnTo>
                    <a:pt x="15142" y="234795"/>
                  </a:lnTo>
                  <a:lnTo>
                    <a:pt x="1681" y="298085"/>
                  </a:lnTo>
                  <a:lnTo>
                    <a:pt x="0" y="331225"/>
                  </a:lnTo>
                  <a:lnTo>
                    <a:pt x="0" y="632839"/>
                  </a:lnTo>
                  <a:lnTo>
                    <a:pt x="2273" y="678295"/>
                  </a:lnTo>
                  <a:lnTo>
                    <a:pt x="9091" y="720377"/>
                  </a:lnTo>
                  <a:lnTo>
                    <a:pt x="20452" y="759084"/>
                  </a:lnTo>
                  <a:lnTo>
                    <a:pt x="36354" y="794415"/>
                  </a:lnTo>
                  <a:lnTo>
                    <a:pt x="77077" y="856018"/>
                  </a:lnTo>
                  <a:lnTo>
                    <a:pt x="126572" y="906171"/>
                  </a:lnTo>
                  <a:lnTo>
                    <a:pt x="182432" y="944543"/>
                  </a:lnTo>
                  <a:lnTo>
                    <a:pt x="242369" y="970797"/>
                  </a:lnTo>
                  <a:lnTo>
                    <a:pt x="302269" y="985951"/>
                  </a:lnTo>
                  <a:lnTo>
                    <a:pt x="358156" y="991006"/>
                  </a:lnTo>
                  <a:lnTo>
                    <a:pt x="929060" y="991006"/>
                  </a:lnTo>
                  <a:lnTo>
                    <a:pt x="978864" y="981913"/>
                  </a:lnTo>
                  <a:lnTo>
                    <a:pt x="1020618" y="954641"/>
                  </a:lnTo>
                  <a:lnTo>
                    <a:pt x="1048890" y="913919"/>
                  </a:lnTo>
                  <a:lnTo>
                    <a:pt x="1058323" y="864434"/>
                  </a:lnTo>
                  <a:lnTo>
                    <a:pt x="1055964" y="838522"/>
                  </a:lnTo>
                  <a:lnTo>
                    <a:pt x="1037107" y="792741"/>
                  </a:lnTo>
                  <a:lnTo>
                    <a:pt x="1000747" y="756382"/>
                  </a:lnTo>
                  <a:lnTo>
                    <a:pt x="954968" y="737521"/>
                  </a:lnTo>
                  <a:lnTo>
                    <a:pt x="433557" y="735160"/>
                  </a:lnTo>
                  <a:lnTo>
                    <a:pt x="390797" y="732557"/>
                  </a:lnTo>
                  <a:lnTo>
                    <a:pt x="323477" y="711700"/>
                  </a:lnTo>
                  <a:lnTo>
                    <a:pt x="280058" y="669282"/>
                  </a:lnTo>
                  <a:lnTo>
                    <a:pt x="258515" y="601288"/>
                  </a:lnTo>
                  <a:lnTo>
                    <a:pt x="255824" y="557428"/>
                  </a:lnTo>
                  <a:lnTo>
                    <a:pt x="255824" y="420091"/>
                  </a:lnTo>
                  <a:lnTo>
                    <a:pt x="258430" y="379958"/>
                  </a:lnTo>
                  <a:lnTo>
                    <a:pt x="279294" y="317350"/>
                  </a:lnTo>
                  <a:lnTo>
                    <a:pt x="320362" y="277805"/>
                  </a:lnTo>
                  <a:lnTo>
                    <a:pt x="377597" y="258269"/>
                  </a:lnTo>
                  <a:lnTo>
                    <a:pt x="412018" y="255824"/>
                  </a:lnTo>
                  <a:lnTo>
                    <a:pt x="751338" y="255824"/>
                  </a:lnTo>
                  <a:lnTo>
                    <a:pt x="795766" y="276441"/>
                  </a:lnTo>
                  <a:lnTo>
                    <a:pt x="810582" y="321801"/>
                  </a:lnTo>
                  <a:lnTo>
                    <a:pt x="809651" y="333922"/>
                  </a:lnTo>
                  <a:lnTo>
                    <a:pt x="787428" y="376187"/>
                  </a:lnTo>
                  <a:lnTo>
                    <a:pt x="471263" y="387778"/>
                  </a:lnTo>
                  <a:lnTo>
                    <a:pt x="442215" y="390027"/>
                  </a:lnTo>
                  <a:lnTo>
                    <a:pt x="395763" y="408001"/>
                  </a:lnTo>
                  <a:lnTo>
                    <a:pt x="364804" y="442110"/>
                  </a:lnTo>
                  <a:lnTo>
                    <a:pt x="349317" y="481372"/>
                  </a:lnTo>
                  <a:lnTo>
                    <a:pt x="347382" y="502236"/>
                  </a:lnTo>
                  <a:lnTo>
                    <a:pt x="349317" y="523115"/>
                  </a:lnTo>
                  <a:lnTo>
                    <a:pt x="364804" y="562370"/>
                  </a:lnTo>
                  <a:lnTo>
                    <a:pt x="395763" y="596475"/>
                  </a:lnTo>
                  <a:lnTo>
                    <a:pt x="442215" y="614430"/>
                  </a:lnTo>
                  <a:lnTo>
                    <a:pt x="471263" y="616672"/>
                  </a:lnTo>
                  <a:lnTo>
                    <a:pt x="751338" y="616672"/>
                  </a:lnTo>
                  <a:lnTo>
                    <a:pt x="802740" y="613816"/>
                  </a:lnTo>
                  <a:lnTo>
                    <a:pt x="849273" y="605240"/>
                  </a:lnTo>
                  <a:lnTo>
                    <a:pt x="890932" y="590936"/>
                  </a:lnTo>
                  <a:lnTo>
                    <a:pt x="927709" y="570893"/>
                  </a:lnTo>
                  <a:lnTo>
                    <a:pt x="959686" y="546582"/>
                  </a:lnTo>
                  <a:lnTo>
                    <a:pt x="986950" y="519403"/>
                  </a:lnTo>
                  <a:lnTo>
                    <a:pt x="1027350" y="456446"/>
                  </a:lnTo>
                  <a:lnTo>
                    <a:pt x="1048879" y="385092"/>
                  </a:lnTo>
                  <a:lnTo>
                    <a:pt x="1052586" y="347392"/>
                  </a:lnTo>
                  <a:lnTo>
                    <a:pt x="1051591" y="308336"/>
                  </a:lnTo>
                  <a:lnTo>
                    <a:pt x="1046119" y="269301"/>
                  </a:lnTo>
                  <a:lnTo>
                    <a:pt x="1036440" y="231598"/>
                  </a:lnTo>
                  <a:lnTo>
                    <a:pt x="1022555" y="195237"/>
                  </a:lnTo>
                  <a:lnTo>
                    <a:pt x="1004461" y="160225"/>
                  </a:lnTo>
                  <a:lnTo>
                    <a:pt x="982073" y="127325"/>
                  </a:lnTo>
                  <a:lnTo>
                    <a:pt x="955307" y="97288"/>
                  </a:lnTo>
                  <a:lnTo>
                    <a:pt x="924169" y="70108"/>
                  </a:lnTo>
                  <a:lnTo>
                    <a:pt x="888664" y="45778"/>
                  </a:lnTo>
                  <a:lnTo>
                    <a:pt x="849109" y="25753"/>
                  </a:lnTo>
                  <a:lnTo>
                    <a:pt x="805855" y="11447"/>
                  </a:lnTo>
                  <a:lnTo>
                    <a:pt x="758901" y="2862"/>
                  </a:lnTo>
                  <a:lnTo>
                    <a:pt x="708250" y="0"/>
                  </a:lnTo>
                  <a:close/>
                </a:path>
              </a:pathLst>
            </a:custGeom>
            <a:solidFill>
              <a:srgbClr val="028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24" name="object 35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8" y="6490809"/>
            <a:ext cx="349623" cy="33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5" name="文本框 2"/>
          <p:cNvSpPr txBox="1"/>
          <p:nvPr userDrawn="1"/>
        </p:nvSpPr>
        <p:spPr>
          <a:xfrm>
            <a:off x="0" y="6457890"/>
            <a:ext cx="1932484" cy="400110"/>
          </a:xfrm>
          <a:prstGeom prst="rect">
            <a:avLst/>
          </a:prstGeom>
          <a:solidFill>
            <a:srgbClr val="0288E4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  <a:tabLst>
                <a:tab pos="1162050" algn="l"/>
              </a:tabLst>
            </a:pPr>
            <a:r>
              <a:rPr lang="zh-CN" altLang="en-US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核心商密 </a:t>
            </a:r>
            <a:r>
              <a:rPr lang="en-US" altLang="zh-CN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	</a:t>
            </a:r>
            <a:r>
              <a:rPr lang="zh-CN" altLang="en-US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长期</a:t>
            </a:r>
          </a:p>
          <a:p>
            <a:pPr>
              <a:lnSpc>
                <a:spcPts val="1200"/>
              </a:lnSpc>
              <a:tabLst>
                <a:tab pos="1162050" algn="l"/>
              </a:tabLst>
            </a:pPr>
            <a:r>
              <a:rPr lang="en-US" altLang="zh-CN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Secret 	</a:t>
            </a:r>
            <a:r>
              <a:rPr lang="en-US" altLang="zh-CN" sz="800" baseline="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zh-CN" altLang="en-US" sz="800" dirty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Long-term</a:t>
            </a:r>
          </a:p>
        </p:txBody>
      </p:sp>
      <p:pic>
        <p:nvPicPr>
          <p:cNvPr id="126" name="object 35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8" y="6508739"/>
            <a:ext cx="349623" cy="33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1" name="组合 60"/>
          <p:cNvGrpSpPr/>
          <p:nvPr userDrawn="1"/>
        </p:nvGrpSpPr>
        <p:grpSpPr>
          <a:xfrm>
            <a:off x="10699719" y="73152"/>
            <a:ext cx="1371987" cy="505967"/>
            <a:chOff x="10699719" y="73152"/>
            <a:chExt cx="1371987" cy="505967"/>
          </a:xfrm>
        </p:grpSpPr>
        <p:sp>
          <p:nvSpPr>
            <p:cNvPr id="62" name="object 56"/>
            <p:cNvSpPr>
              <a:spLocks noChangeArrowheads="1"/>
            </p:cNvSpPr>
            <p:nvPr userDrawn="1"/>
          </p:nvSpPr>
          <p:spPr bwMode="auto">
            <a:xfrm>
              <a:off x="11318115" y="73152"/>
              <a:ext cx="5440" cy="505967"/>
            </a:xfrm>
            <a:custGeom>
              <a:avLst/>
              <a:gdLst>
                <a:gd name="T0" fmla="*/ 11591 w 12065"/>
                <a:gd name="T1" fmla="*/ 0 h 1180465"/>
                <a:gd name="T2" fmla="*/ 0 w 12065"/>
                <a:gd name="T3" fmla="*/ 0 h 1180465"/>
                <a:gd name="T4" fmla="*/ 0 w 12065"/>
                <a:gd name="T5" fmla="*/ 1180131 h 1180465"/>
                <a:gd name="T6" fmla="*/ 11591 w 12065"/>
                <a:gd name="T7" fmla="*/ 1180131 h 1180465"/>
                <a:gd name="T8" fmla="*/ 11591 w 12065"/>
                <a:gd name="T9" fmla="*/ 0 h 1180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65" h="1180465">
                  <a:moveTo>
                    <a:pt x="11591" y="0"/>
                  </a:moveTo>
                  <a:lnTo>
                    <a:pt x="0" y="0"/>
                  </a:lnTo>
                  <a:lnTo>
                    <a:pt x="0" y="1180131"/>
                  </a:lnTo>
                  <a:lnTo>
                    <a:pt x="11591" y="1180131"/>
                  </a:lnTo>
                  <a:lnTo>
                    <a:pt x="11591" y="0"/>
                  </a:lnTo>
                  <a:close/>
                </a:path>
              </a:pathLst>
            </a:custGeom>
            <a:solidFill>
              <a:srgbClr val="6C6C6C"/>
            </a:solidFill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63" name="组合 62"/>
            <p:cNvGrpSpPr/>
            <p:nvPr userDrawn="1"/>
          </p:nvGrpSpPr>
          <p:grpSpPr>
            <a:xfrm>
              <a:off x="11427006" y="77232"/>
              <a:ext cx="644700" cy="497806"/>
              <a:chOff x="3252153" y="2959418"/>
              <a:chExt cx="1504950" cy="1162050"/>
            </a:xfrm>
          </p:grpSpPr>
          <p:grpSp>
            <p:nvGrpSpPr>
              <p:cNvPr id="76" name="object 57"/>
              <p:cNvGrpSpPr/>
              <p:nvPr userDrawn="1"/>
            </p:nvGrpSpPr>
            <p:grpSpPr bwMode="auto">
              <a:xfrm>
                <a:off x="3255328" y="4003993"/>
                <a:ext cx="1477962" cy="117475"/>
                <a:chOff x="9666427" y="7834490"/>
                <a:chExt cx="1477645" cy="116839"/>
              </a:xfrm>
            </p:grpSpPr>
            <p:pic>
              <p:nvPicPr>
                <p:cNvPr id="88" name="object 58"/>
                <p:cNvPicPr>
                  <a:picLocks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31655" y="7836230"/>
                  <a:ext cx="104426" cy="1123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9" name="object 59"/>
                <p:cNvSpPr>
                  <a:spLocks noChangeArrowheads="1"/>
                </p:cNvSpPr>
                <p:nvPr/>
              </p:nvSpPr>
              <p:spPr bwMode="auto">
                <a:xfrm>
                  <a:off x="10002407" y="7889309"/>
                  <a:ext cx="43815" cy="19685"/>
                </a:xfrm>
                <a:custGeom>
                  <a:avLst/>
                  <a:gdLst>
                    <a:gd name="T0" fmla="*/ 43464 w 43815"/>
                    <a:gd name="T1" fmla="*/ 0 h 19684"/>
                    <a:gd name="T2" fmla="*/ 0 w 43815"/>
                    <a:gd name="T3" fmla="*/ 0 h 19684"/>
                    <a:gd name="T4" fmla="*/ 0 w 43815"/>
                    <a:gd name="T5" fmla="*/ 19266 h 19684"/>
                    <a:gd name="T6" fmla="*/ 43464 w 43815"/>
                    <a:gd name="T7" fmla="*/ 19266 h 19684"/>
                    <a:gd name="T8" fmla="*/ 43464 w 43815"/>
                    <a:gd name="T9" fmla="*/ 0 h 19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815" h="19684">
                      <a:moveTo>
                        <a:pt x="43464" y="0"/>
                      </a:moveTo>
                      <a:lnTo>
                        <a:pt x="0" y="0"/>
                      </a:lnTo>
                      <a:lnTo>
                        <a:pt x="0" y="19266"/>
                      </a:lnTo>
                      <a:lnTo>
                        <a:pt x="43464" y="19266"/>
                      </a:lnTo>
                      <a:lnTo>
                        <a:pt x="43464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90" name="object 60"/>
                <p:cNvPicPr>
                  <a:picLocks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065354" y="7835727"/>
                  <a:ext cx="222169" cy="1150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91" name="object 61"/>
                <p:cNvSpPr>
                  <a:spLocks noChangeArrowheads="1"/>
                </p:cNvSpPr>
                <p:nvPr/>
              </p:nvSpPr>
              <p:spPr bwMode="auto">
                <a:xfrm>
                  <a:off x="10313721" y="7836960"/>
                  <a:ext cx="58419" cy="111760"/>
                </a:xfrm>
                <a:custGeom>
                  <a:avLst/>
                  <a:gdLst>
                    <a:gd name="T0" fmla="*/ 57975 w 58420"/>
                    <a:gd name="T1" fmla="*/ 92710 h 111759"/>
                    <a:gd name="T2" fmla="*/ 21450 w 58420"/>
                    <a:gd name="T3" fmla="*/ 92710 h 111759"/>
                    <a:gd name="T4" fmla="*/ 21450 w 58420"/>
                    <a:gd name="T5" fmla="*/ 0 h 111759"/>
                    <a:gd name="T6" fmla="*/ 0 w 58420"/>
                    <a:gd name="T7" fmla="*/ 0 h 111759"/>
                    <a:gd name="T8" fmla="*/ 0 w 58420"/>
                    <a:gd name="T9" fmla="*/ 92710 h 111759"/>
                    <a:gd name="T10" fmla="*/ 0 w 58420"/>
                    <a:gd name="T11" fmla="*/ 111760 h 111759"/>
                    <a:gd name="T12" fmla="*/ 57975 w 58420"/>
                    <a:gd name="T13" fmla="*/ 111760 h 111759"/>
                    <a:gd name="T14" fmla="*/ 57975 w 58420"/>
                    <a:gd name="T15" fmla="*/ 92710 h 111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420" h="111759">
                      <a:moveTo>
                        <a:pt x="57975" y="92710"/>
                      </a:moveTo>
                      <a:lnTo>
                        <a:pt x="21450" y="92710"/>
                      </a:lnTo>
                      <a:lnTo>
                        <a:pt x="21450" y="0"/>
                      </a:lnTo>
                      <a:lnTo>
                        <a:pt x="0" y="0"/>
                      </a:lnTo>
                      <a:lnTo>
                        <a:pt x="0" y="92710"/>
                      </a:lnTo>
                      <a:lnTo>
                        <a:pt x="0" y="111760"/>
                      </a:lnTo>
                      <a:lnTo>
                        <a:pt x="57975" y="111760"/>
                      </a:lnTo>
                      <a:lnTo>
                        <a:pt x="57975" y="9271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92" name="object 62"/>
                <p:cNvPicPr>
                  <a:picLocks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394926" y="7834992"/>
                  <a:ext cx="334506" cy="1162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93" name="object 63"/>
                <p:cNvPicPr>
                  <a:picLocks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44226" y="7834490"/>
                  <a:ext cx="95033" cy="11625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94" name="object 64"/>
                <p:cNvSpPr>
                  <a:spLocks noChangeArrowheads="1"/>
                </p:cNvSpPr>
                <p:nvPr/>
              </p:nvSpPr>
              <p:spPr bwMode="auto">
                <a:xfrm>
                  <a:off x="10966421" y="7836226"/>
                  <a:ext cx="61594" cy="112395"/>
                </a:xfrm>
                <a:custGeom>
                  <a:avLst/>
                  <a:gdLst>
                    <a:gd name="T0" fmla="*/ 60971 w 61595"/>
                    <a:gd name="T1" fmla="*/ 0 h 112395"/>
                    <a:gd name="T2" fmla="*/ 0 w 61595"/>
                    <a:gd name="T3" fmla="*/ 0 h 112395"/>
                    <a:gd name="T4" fmla="*/ 0 w 61595"/>
                    <a:gd name="T5" fmla="*/ 112321 h 112395"/>
                    <a:gd name="T6" fmla="*/ 60971 w 61595"/>
                    <a:gd name="T7" fmla="*/ 112321 h 112395"/>
                    <a:gd name="T8" fmla="*/ 60971 w 61595"/>
                    <a:gd name="T9" fmla="*/ 93808 h 112395"/>
                    <a:gd name="T10" fmla="*/ 21727 w 61595"/>
                    <a:gd name="T11" fmla="*/ 93808 h 112395"/>
                    <a:gd name="T12" fmla="*/ 21727 w 61595"/>
                    <a:gd name="T13" fmla="*/ 63453 h 112395"/>
                    <a:gd name="T14" fmla="*/ 59013 w 61595"/>
                    <a:gd name="T15" fmla="*/ 63453 h 112395"/>
                    <a:gd name="T16" fmla="*/ 59013 w 61595"/>
                    <a:gd name="T17" fmla="*/ 45663 h 112395"/>
                    <a:gd name="T18" fmla="*/ 21727 w 61595"/>
                    <a:gd name="T19" fmla="*/ 45663 h 112395"/>
                    <a:gd name="T20" fmla="*/ 21727 w 61595"/>
                    <a:gd name="T21" fmla="*/ 18271 h 112395"/>
                    <a:gd name="T22" fmla="*/ 60971 w 61595"/>
                    <a:gd name="T23" fmla="*/ 18271 h 112395"/>
                    <a:gd name="T24" fmla="*/ 60971 w 61595"/>
                    <a:gd name="T2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1595" h="112395">
                      <a:moveTo>
                        <a:pt x="60971" y="0"/>
                      </a:moveTo>
                      <a:lnTo>
                        <a:pt x="0" y="0"/>
                      </a:lnTo>
                      <a:lnTo>
                        <a:pt x="0" y="112321"/>
                      </a:lnTo>
                      <a:lnTo>
                        <a:pt x="60971" y="112321"/>
                      </a:lnTo>
                      <a:lnTo>
                        <a:pt x="60971" y="93808"/>
                      </a:lnTo>
                      <a:lnTo>
                        <a:pt x="21727" y="93808"/>
                      </a:lnTo>
                      <a:lnTo>
                        <a:pt x="21727" y="63453"/>
                      </a:lnTo>
                      <a:lnTo>
                        <a:pt x="59013" y="63453"/>
                      </a:lnTo>
                      <a:lnTo>
                        <a:pt x="59013" y="45663"/>
                      </a:lnTo>
                      <a:lnTo>
                        <a:pt x="21727" y="45663"/>
                      </a:lnTo>
                      <a:lnTo>
                        <a:pt x="21727" y="18271"/>
                      </a:lnTo>
                      <a:lnTo>
                        <a:pt x="60971" y="18271"/>
                      </a:lnTo>
                      <a:lnTo>
                        <a:pt x="60971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95" name="object 65"/>
                <p:cNvPicPr>
                  <a:picLocks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051085" y="7836233"/>
                  <a:ext cx="92845" cy="112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96" name="object 66"/>
                <p:cNvSpPr>
                  <a:spLocks noChangeArrowheads="1"/>
                </p:cNvSpPr>
                <p:nvPr/>
              </p:nvSpPr>
              <p:spPr bwMode="auto">
                <a:xfrm>
                  <a:off x="9666414" y="7836960"/>
                  <a:ext cx="318770" cy="112395"/>
                </a:xfrm>
                <a:custGeom>
                  <a:avLst/>
                  <a:gdLst>
                    <a:gd name="T0" fmla="*/ 57785 w 318770"/>
                    <a:gd name="T1" fmla="*/ 0 h 112395"/>
                    <a:gd name="T2" fmla="*/ 0 w 318770"/>
                    <a:gd name="T3" fmla="*/ 0 h 112395"/>
                    <a:gd name="T4" fmla="*/ 0 w 318770"/>
                    <a:gd name="T5" fmla="*/ 112331 h 112395"/>
                    <a:gd name="T6" fmla="*/ 22212 w 318770"/>
                    <a:gd name="T7" fmla="*/ 112331 h 112395"/>
                    <a:gd name="T8" fmla="*/ 22212 w 318770"/>
                    <a:gd name="T9" fmla="*/ 65913 h 112395"/>
                    <a:gd name="T10" fmla="*/ 57785 w 318770"/>
                    <a:gd name="T11" fmla="*/ 65913 h 112395"/>
                    <a:gd name="T12" fmla="*/ 57785 w 318770"/>
                    <a:gd name="T13" fmla="*/ 44691 h 112395"/>
                    <a:gd name="T14" fmla="*/ 22212 w 318770"/>
                    <a:gd name="T15" fmla="*/ 44691 h 112395"/>
                    <a:gd name="T16" fmla="*/ 22212 w 318770"/>
                    <a:gd name="T17" fmla="*/ 21247 h 112395"/>
                    <a:gd name="T18" fmla="*/ 57785 w 318770"/>
                    <a:gd name="T19" fmla="*/ 21247 h 112395"/>
                    <a:gd name="T20" fmla="*/ 57785 w 318770"/>
                    <a:gd name="T21" fmla="*/ 0 h 112395"/>
                    <a:gd name="T22" fmla="*/ 176022 w 318770"/>
                    <a:gd name="T23" fmla="*/ 112344 h 112395"/>
                    <a:gd name="T24" fmla="*/ 167894 w 318770"/>
                    <a:gd name="T25" fmla="*/ 89623 h 112395"/>
                    <a:gd name="T26" fmla="*/ 160642 w 318770"/>
                    <a:gd name="T27" fmla="*/ 69380 h 112395"/>
                    <a:gd name="T28" fmla="*/ 144729 w 318770"/>
                    <a:gd name="T29" fmla="*/ 24942 h 112395"/>
                    <a:gd name="T30" fmla="*/ 138506 w 318770"/>
                    <a:gd name="T31" fmla="*/ 7569 h 112395"/>
                    <a:gd name="T32" fmla="*/ 138506 w 318770"/>
                    <a:gd name="T33" fmla="*/ 69380 h 112395"/>
                    <a:gd name="T34" fmla="*/ 109359 w 318770"/>
                    <a:gd name="T35" fmla="*/ 69380 h 112395"/>
                    <a:gd name="T36" fmla="*/ 123926 w 318770"/>
                    <a:gd name="T37" fmla="*/ 24942 h 112395"/>
                    <a:gd name="T38" fmla="*/ 138506 w 318770"/>
                    <a:gd name="T39" fmla="*/ 69380 h 112395"/>
                    <a:gd name="T40" fmla="*/ 138506 w 318770"/>
                    <a:gd name="T41" fmla="*/ 7569 h 112395"/>
                    <a:gd name="T42" fmla="*/ 135801 w 318770"/>
                    <a:gd name="T43" fmla="*/ 12 h 112395"/>
                    <a:gd name="T44" fmla="*/ 112090 w 318770"/>
                    <a:gd name="T45" fmla="*/ 12 h 112395"/>
                    <a:gd name="T46" fmla="*/ 71589 w 318770"/>
                    <a:gd name="T47" fmla="*/ 112344 h 112395"/>
                    <a:gd name="T48" fmla="*/ 95529 w 318770"/>
                    <a:gd name="T49" fmla="*/ 112344 h 112395"/>
                    <a:gd name="T50" fmla="*/ 102946 w 318770"/>
                    <a:gd name="T51" fmla="*/ 89623 h 112395"/>
                    <a:gd name="T52" fmla="*/ 144932 w 318770"/>
                    <a:gd name="T53" fmla="*/ 89623 h 112395"/>
                    <a:gd name="T54" fmla="*/ 152069 w 318770"/>
                    <a:gd name="T55" fmla="*/ 112344 h 112395"/>
                    <a:gd name="T56" fmla="*/ 176022 w 318770"/>
                    <a:gd name="T57" fmla="*/ 112344 h 112395"/>
                    <a:gd name="T58" fmla="*/ 318223 w 318770"/>
                    <a:gd name="T59" fmla="*/ 0 h 112395"/>
                    <a:gd name="T60" fmla="*/ 296735 w 318770"/>
                    <a:gd name="T61" fmla="*/ 0 h 112395"/>
                    <a:gd name="T62" fmla="*/ 276999 w 318770"/>
                    <a:gd name="T63" fmla="*/ 78511 h 112395"/>
                    <a:gd name="T64" fmla="*/ 260451 w 318770"/>
                    <a:gd name="T65" fmla="*/ 0 h 112395"/>
                    <a:gd name="T66" fmla="*/ 235762 w 318770"/>
                    <a:gd name="T67" fmla="*/ 0 h 112395"/>
                    <a:gd name="T68" fmla="*/ 218973 w 318770"/>
                    <a:gd name="T69" fmla="*/ 78511 h 112395"/>
                    <a:gd name="T70" fmla="*/ 199224 w 318770"/>
                    <a:gd name="T71" fmla="*/ 0 h 112395"/>
                    <a:gd name="T72" fmla="*/ 177736 w 318770"/>
                    <a:gd name="T73" fmla="*/ 0 h 112395"/>
                    <a:gd name="T74" fmla="*/ 207124 w 318770"/>
                    <a:gd name="T75" fmla="*/ 112331 h 112395"/>
                    <a:gd name="T76" fmla="*/ 232308 w 318770"/>
                    <a:gd name="T77" fmla="*/ 112331 h 112395"/>
                    <a:gd name="T78" fmla="*/ 248094 w 318770"/>
                    <a:gd name="T79" fmla="*/ 35560 h 112395"/>
                    <a:gd name="T80" fmla="*/ 263906 w 318770"/>
                    <a:gd name="T81" fmla="*/ 112331 h 112395"/>
                    <a:gd name="T82" fmla="*/ 288836 w 318770"/>
                    <a:gd name="T83" fmla="*/ 112331 h 112395"/>
                    <a:gd name="T84" fmla="*/ 318223 w 318770"/>
                    <a:gd name="T8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318770" h="112395">
                      <a:moveTo>
                        <a:pt x="57785" y="0"/>
                      </a:moveTo>
                      <a:lnTo>
                        <a:pt x="0" y="0"/>
                      </a:lnTo>
                      <a:lnTo>
                        <a:pt x="0" y="112331"/>
                      </a:lnTo>
                      <a:lnTo>
                        <a:pt x="22212" y="112331"/>
                      </a:lnTo>
                      <a:lnTo>
                        <a:pt x="22212" y="65913"/>
                      </a:lnTo>
                      <a:lnTo>
                        <a:pt x="57785" y="65913"/>
                      </a:lnTo>
                      <a:lnTo>
                        <a:pt x="57785" y="44691"/>
                      </a:lnTo>
                      <a:lnTo>
                        <a:pt x="22212" y="44691"/>
                      </a:lnTo>
                      <a:lnTo>
                        <a:pt x="22212" y="21247"/>
                      </a:lnTo>
                      <a:lnTo>
                        <a:pt x="57785" y="21247"/>
                      </a:lnTo>
                      <a:lnTo>
                        <a:pt x="57785" y="0"/>
                      </a:lnTo>
                      <a:close/>
                    </a:path>
                    <a:path w="318770" h="112395">
                      <a:moveTo>
                        <a:pt x="176022" y="112344"/>
                      </a:moveTo>
                      <a:lnTo>
                        <a:pt x="167894" y="89623"/>
                      </a:lnTo>
                      <a:lnTo>
                        <a:pt x="160642" y="69380"/>
                      </a:lnTo>
                      <a:lnTo>
                        <a:pt x="144729" y="24942"/>
                      </a:lnTo>
                      <a:lnTo>
                        <a:pt x="138506" y="7569"/>
                      </a:lnTo>
                      <a:lnTo>
                        <a:pt x="138506" y="69380"/>
                      </a:lnTo>
                      <a:lnTo>
                        <a:pt x="109359" y="69380"/>
                      </a:lnTo>
                      <a:lnTo>
                        <a:pt x="123926" y="24942"/>
                      </a:lnTo>
                      <a:lnTo>
                        <a:pt x="138506" y="69380"/>
                      </a:lnTo>
                      <a:lnTo>
                        <a:pt x="138506" y="7569"/>
                      </a:lnTo>
                      <a:lnTo>
                        <a:pt x="135801" y="12"/>
                      </a:lnTo>
                      <a:lnTo>
                        <a:pt x="112090" y="12"/>
                      </a:lnTo>
                      <a:lnTo>
                        <a:pt x="71589" y="112344"/>
                      </a:lnTo>
                      <a:lnTo>
                        <a:pt x="95529" y="112344"/>
                      </a:lnTo>
                      <a:lnTo>
                        <a:pt x="102946" y="89623"/>
                      </a:lnTo>
                      <a:lnTo>
                        <a:pt x="144932" y="89623"/>
                      </a:lnTo>
                      <a:lnTo>
                        <a:pt x="152069" y="112344"/>
                      </a:lnTo>
                      <a:lnTo>
                        <a:pt x="176022" y="112344"/>
                      </a:lnTo>
                      <a:close/>
                    </a:path>
                    <a:path w="318770" h="112395">
                      <a:moveTo>
                        <a:pt x="318223" y="0"/>
                      </a:moveTo>
                      <a:lnTo>
                        <a:pt x="296735" y="0"/>
                      </a:lnTo>
                      <a:lnTo>
                        <a:pt x="276999" y="78511"/>
                      </a:lnTo>
                      <a:lnTo>
                        <a:pt x="260451" y="0"/>
                      </a:lnTo>
                      <a:lnTo>
                        <a:pt x="235762" y="0"/>
                      </a:lnTo>
                      <a:lnTo>
                        <a:pt x="218973" y="78511"/>
                      </a:lnTo>
                      <a:lnTo>
                        <a:pt x="199224" y="0"/>
                      </a:lnTo>
                      <a:lnTo>
                        <a:pt x="177736" y="0"/>
                      </a:lnTo>
                      <a:lnTo>
                        <a:pt x="207124" y="112331"/>
                      </a:lnTo>
                      <a:lnTo>
                        <a:pt x="232308" y="112331"/>
                      </a:lnTo>
                      <a:lnTo>
                        <a:pt x="248094" y="35560"/>
                      </a:lnTo>
                      <a:lnTo>
                        <a:pt x="263906" y="112331"/>
                      </a:lnTo>
                      <a:lnTo>
                        <a:pt x="288836" y="112331"/>
                      </a:lnTo>
                      <a:lnTo>
                        <a:pt x="318223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grpSp>
            <p:nvGrpSpPr>
              <p:cNvPr id="77" name="object 67"/>
              <p:cNvGrpSpPr/>
              <p:nvPr userDrawn="1"/>
            </p:nvGrpSpPr>
            <p:grpSpPr bwMode="auto">
              <a:xfrm>
                <a:off x="3255328" y="3664268"/>
                <a:ext cx="1479550" cy="282575"/>
                <a:chOff x="9666940" y="7495307"/>
                <a:chExt cx="1479550" cy="281940"/>
              </a:xfrm>
            </p:grpSpPr>
            <p:sp>
              <p:nvSpPr>
                <p:cNvPr id="84" name="object 68"/>
                <p:cNvSpPr>
                  <a:spLocks noChangeArrowheads="1"/>
                </p:cNvSpPr>
                <p:nvPr/>
              </p:nvSpPr>
              <p:spPr bwMode="auto">
                <a:xfrm>
                  <a:off x="9666935" y="7603940"/>
                  <a:ext cx="763270" cy="50165"/>
                </a:xfrm>
                <a:custGeom>
                  <a:avLst/>
                  <a:gdLst>
                    <a:gd name="T0" fmla="*/ 270040 w 763270"/>
                    <a:gd name="T1" fmla="*/ 977 h 50165"/>
                    <a:gd name="T2" fmla="*/ 0 w 763270"/>
                    <a:gd name="T3" fmla="*/ 977 h 50165"/>
                    <a:gd name="T4" fmla="*/ 0 w 763270"/>
                    <a:gd name="T5" fmla="*/ 49606 h 50165"/>
                    <a:gd name="T6" fmla="*/ 270040 w 763270"/>
                    <a:gd name="T7" fmla="*/ 49606 h 50165"/>
                    <a:gd name="T8" fmla="*/ 270040 w 763270"/>
                    <a:gd name="T9" fmla="*/ 977 h 50165"/>
                    <a:gd name="T10" fmla="*/ 762787 w 763270"/>
                    <a:gd name="T11" fmla="*/ 0 h 50165"/>
                    <a:gd name="T12" fmla="*/ 665772 w 763270"/>
                    <a:gd name="T13" fmla="*/ 0 h 50165"/>
                    <a:gd name="T14" fmla="*/ 665772 w 763270"/>
                    <a:gd name="T15" fmla="*/ 46405 h 50165"/>
                    <a:gd name="T16" fmla="*/ 762787 w 763270"/>
                    <a:gd name="T17" fmla="*/ 46405 h 50165"/>
                    <a:gd name="T18" fmla="*/ 762787 w 763270"/>
                    <a:gd name="T19" fmla="*/ 0 h 50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63270" h="50165">
                      <a:moveTo>
                        <a:pt x="270040" y="977"/>
                      </a:moveTo>
                      <a:lnTo>
                        <a:pt x="0" y="977"/>
                      </a:lnTo>
                      <a:lnTo>
                        <a:pt x="0" y="49606"/>
                      </a:lnTo>
                      <a:lnTo>
                        <a:pt x="270040" y="49606"/>
                      </a:lnTo>
                      <a:lnTo>
                        <a:pt x="270040" y="977"/>
                      </a:lnTo>
                      <a:close/>
                    </a:path>
                    <a:path w="763270" h="50165">
                      <a:moveTo>
                        <a:pt x="762787" y="0"/>
                      </a:moveTo>
                      <a:lnTo>
                        <a:pt x="665772" y="0"/>
                      </a:lnTo>
                      <a:lnTo>
                        <a:pt x="665772" y="46405"/>
                      </a:lnTo>
                      <a:lnTo>
                        <a:pt x="762787" y="46405"/>
                      </a:lnTo>
                      <a:lnTo>
                        <a:pt x="762787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85" name="object 69"/>
                <p:cNvPicPr>
                  <a:picLocks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977469" y="7495307"/>
                  <a:ext cx="312532" cy="2814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6" name="object 70"/>
                <p:cNvPicPr>
                  <a:picLocks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20519" y="7617008"/>
                  <a:ext cx="325636" cy="1597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7" name="object 71"/>
                <p:cNvSpPr>
                  <a:spLocks noChangeArrowheads="1"/>
                </p:cNvSpPr>
                <p:nvPr/>
              </p:nvSpPr>
              <p:spPr bwMode="auto">
                <a:xfrm>
                  <a:off x="10464304" y="7495799"/>
                  <a:ext cx="675005" cy="281305"/>
                </a:xfrm>
                <a:custGeom>
                  <a:avLst/>
                  <a:gdLst>
                    <a:gd name="T0" fmla="*/ 313512 w 675004"/>
                    <a:gd name="T1" fmla="*/ 238721 h 281304"/>
                    <a:gd name="T2" fmla="*/ 304380 w 675004"/>
                    <a:gd name="T3" fmla="*/ 238721 h 281304"/>
                    <a:gd name="T4" fmla="*/ 295198 w 675004"/>
                    <a:gd name="T5" fmla="*/ 237807 h 281304"/>
                    <a:gd name="T6" fmla="*/ 288391 w 675004"/>
                    <a:gd name="T7" fmla="*/ 234873 h 281304"/>
                    <a:gd name="T8" fmla="*/ 282778 w 675004"/>
                    <a:gd name="T9" fmla="*/ 229666 h 281304"/>
                    <a:gd name="T10" fmla="*/ 277202 w 675004"/>
                    <a:gd name="T11" fmla="*/ 221932 h 281304"/>
                    <a:gd name="T12" fmla="*/ 196989 w 675004"/>
                    <a:gd name="T13" fmla="*/ 86906 h 281304"/>
                    <a:gd name="T14" fmla="*/ 312521 w 675004"/>
                    <a:gd name="T15" fmla="*/ 86906 h 281304"/>
                    <a:gd name="T16" fmla="*/ 312521 w 675004"/>
                    <a:gd name="T17" fmla="*/ 40487 h 281304"/>
                    <a:gd name="T18" fmla="*/ 186118 w 675004"/>
                    <a:gd name="T19" fmla="*/ 40487 h 281304"/>
                    <a:gd name="T20" fmla="*/ 186118 w 675004"/>
                    <a:gd name="T21" fmla="*/ 0 h 281304"/>
                    <a:gd name="T22" fmla="*/ 126873 w 675004"/>
                    <a:gd name="T23" fmla="*/ 0 h 281304"/>
                    <a:gd name="T24" fmla="*/ 126873 w 675004"/>
                    <a:gd name="T25" fmla="*/ 40487 h 281304"/>
                    <a:gd name="T26" fmla="*/ 965 w 675004"/>
                    <a:gd name="T27" fmla="*/ 40487 h 281304"/>
                    <a:gd name="T28" fmla="*/ 965 w 675004"/>
                    <a:gd name="T29" fmla="*/ 86906 h 281304"/>
                    <a:gd name="T30" fmla="*/ 116522 w 675004"/>
                    <a:gd name="T31" fmla="*/ 86906 h 281304"/>
                    <a:gd name="T32" fmla="*/ 36258 w 675004"/>
                    <a:gd name="T33" fmla="*/ 221932 h 281304"/>
                    <a:gd name="T34" fmla="*/ 30480 w 675004"/>
                    <a:gd name="T35" fmla="*/ 229666 h 281304"/>
                    <a:gd name="T36" fmla="*/ 24396 w 675004"/>
                    <a:gd name="T37" fmla="*/ 234873 h 281304"/>
                    <a:gd name="T38" fmla="*/ 17157 w 675004"/>
                    <a:gd name="T39" fmla="*/ 237807 h 281304"/>
                    <a:gd name="T40" fmla="*/ 7899 w 675004"/>
                    <a:gd name="T41" fmla="*/ 238721 h 281304"/>
                    <a:gd name="T42" fmla="*/ 0 w 675004"/>
                    <a:gd name="T43" fmla="*/ 238721 h 281304"/>
                    <a:gd name="T44" fmla="*/ 0 w 675004"/>
                    <a:gd name="T45" fmla="*/ 280936 h 281304"/>
                    <a:gd name="T46" fmla="*/ 22707 w 675004"/>
                    <a:gd name="T47" fmla="*/ 280936 h 281304"/>
                    <a:gd name="T48" fmla="*/ 42532 w 675004"/>
                    <a:gd name="T49" fmla="*/ 280479 h 281304"/>
                    <a:gd name="T50" fmla="*/ 57848 w 675004"/>
                    <a:gd name="T51" fmla="*/ 277317 h 281304"/>
                    <a:gd name="T52" fmla="*/ 70713 w 675004"/>
                    <a:gd name="T53" fmla="*/ 268744 h 281304"/>
                    <a:gd name="T54" fmla="*/ 83172 w 675004"/>
                    <a:gd name="T55" fmla="*/ 252056 h 281304"/>
                    <a:gd name="T56" fmla="*/ 156756 w 675004"/>
                    <a:gd name="T57" fmla="*/ 129120 h 281304"/>
                    <a:gd name="T58" fmla="*/ 230314 w 675004"/>
                    <a:gd name="T59" fmla="*/ 252056 h 281304"/>
                    <a:gd name="T60" fmla="*/ 242646 w 675004"/>
                    <a:gd name="T61" fmla="*/ 268744 h 281304"/>
                    <a:gd name="T62" fmla="*/ 255460 w 675004"/>
                    <a:gd name="T63" fmla="*/ 277317 h 281304"/>
                    <a:gd name="T64" fmla="*/ 270827 w 675004"/>
                    <a:gd name="T65" fmla="*/ 280479 h 281304"/>
                    <a:gd name="T66" fmla="*/ 290791 w 675004"/>
                    <a:gd name="T67" fmla="*/ 280936 h 281304"/>
                    <a:gd name="T68" fmla="*/ 313512 w 675004"/>
                    <a:gd name="T69" fmla="*/ 280936 h 281304"/>
                    <a:gd name="T70" fmla="*/ 313512 w 675004"/>
                    <a:gd name="T71" fmla="*/ 238721 h 281304"/>
                    <a:gd name="T72" fmla="*/ 674928 w 675004"/>
                    <a:gd name="T73" fmla="*/ 68872 h 281304"/>
                    <a:gd name="T74" fmla="*/ 653173 w 675004"/>
                    <a:gd name="T75" fmla="*/ 68872 h 281304"/>
                    <a:gd name="T76" fmla="*/ 622833 w 675004"/>
                    <a:gd name="T77" fmla="*/ 3213 h 281304"/>
                    <a:gd name="T78" fmla="*/ 419658 w 675004"/>
                    <a:gd name="T79" fmla="*/ 3213 h 281304"/>
                    <a:gd name="T80" fmla="*/ 395960 w 675004"/>
                    <a:gd name="T81" fmla="*/ 54330 h 281304"/>
                    <a:gd name="T82" fmla="*/ 389064 w 675004"/>
                    <a:gd name="T83" fmla="*/ 68872 h 281304"/>
                    <a:gd name="T84" fmla="*/ 367347 w 675004"/>
                    <a:gd name="T85" fmla="*/ 68872 h 281304"/>
                    <a:gd name="T86" fmla="*/ 367347 w 675004"/>
                    <a:gd name="T87" fmla="*/ 110591 h 281304"/>
                    <a:gd name="T88" fmla="*/ 396963 w 675004"/>
                    <a:gd name="T89" fmla="*/ 110591 h 281304"/>
                    <a:gd name="T90" fmla="*/ 411289 w 675004"/>
                    <a:gd name="T91" fmla="*/ 109651 h 281304"/>
                    <a:gd name="T92" fmla="*/ 422592 w 675004"/>
                    <a:gd name="T93" fmla="*/ 106095 h 281304"/>
                    <a:gd name="T94" fmla="*/ 431622 w 675004"/>
                    <a:gd name="T95" fmla="*/ 98729 h 281304"/>
                    <a:gd name="T96" fmla="*/ 439153 w 675004"/>
                    <a:gd name="T97" fmla="*/ 86423 h 281304"/>
                    <a:gd name="T98" fmla="*/ 455942 w 675004"/>
                    <a:gd name="T99" fmla="*/ 49860 h 281304"/>
                    <a:gd name="T100" fmla="*/ 586295 w 675004"/>
                    <a:gd name="T101" fmla="*/ 49860 h 281304"/>
                    <a:gd name="T102" fmla="*/ 604558 w 675004"/>
                    <a:gd name="T103" fmla="*/ 86423 h 281304"/>
                    <a:gd name="T104" fmla="*/ 647255 w 675004"/>
                    <a:gd name="T105" fmla="*/ 110591 h 281304"/>
                    <a:gd name="T106" fmla="*/ 674928 w 675004"/>
                    <a:gd name="T107" fmla="*/ 110591 h 281304"/>
                    <a:gd name="T108" fmla="*/ 674928 w 675004"/>
                    <a:gd name="T109" fmla="*/ 68872 h 281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75004" h="281304">
                      <a:moveTo>
                        <a:pt x="313512" y="238721"/>
                      </a:moveTo>
                      <a:lnTo>
                        <a:pt x="304380" y="238721"/>
                      </a:lnTo>
                      <a:lnTo>
                        <a:pt x="295198" y="237807"/>
                      </a:lnTo>
                      <a:lnTo>
                        <a:pt x="288391" y="234873"/>
                      </a:lnTo>
                      <a:lnTo>
                        <a:pt x="282778" y="229666"/>
                      </a:lnTo>
                      <a:lnTo>
                        <a:pt x="277202" y="221932"/>
                      </a:lnTo>
                      <a:lnTo>
                        <a:pt x="196989" y="86906"/>
                      </a:lnTo>
                      <a:lnTo>
                        <a:pt x="312521" y="86906"/>
                      </a:lnTo>
                      <a:lnTo>
                        <a:pt x="312521" y="40487"/>
                      </a:lnTo>
                      <a:lnTo>
                        <a:pt x="186118" y="40487"/>
                      </a:lnTo>
                      <a:lnTo>
                        <a:pt x="186118" y="0"/>
                      </a:lnTo>
                      <a:lnTo>
                        <a:pt x="126873" y="0"/>
                      </a:lnTo>
                      <a:lnTo>
                        <a:pt x="126873" y="40487"/>
                      </a:lnTo>
                      <a:lnTo>
                        <a:pt x="965" y="40487"/>
                      </a:lnTo>
                      <a:lnTo>
                        <a:pt x="965" y="86906"/>
                      </a:lnTo>
                      <a:lnTo>
                        <a:pt x="116522" y="86906"/>
                      </a:lnTo>
                      <a:lnTo>
                        <a:pt x="36258" y="221932"/>
                      </a:lnTo>
                      <a:lnTo>
                        <a:pt x="30480" y="229666"/>
                      </a:lnTo>
                      <a:lnTo>
                        <a:pt x="24396" y="234873"/>
                      </a:lnTo>
                      <a:lnTo>
                        <a:pt x="17157" y="237807"/>
                      </a:lnTo>
                      <a:lnTo>
                        <a:pt x="7899" y="238721"/>
                      </a:lnTo>
                      <a:lnTo>
                        <a:pt x="0" y="238721"/>
                      </a:lnTo>
                      <a:lnTo>
                        <a:pt x="0" y="280936"/>
                      </a:lnTo>
                      <a:lnTo>
                        <a:pt x="22707" y="280936"/>
                      </a:lnTo>
                      <a:lnTo>
                        <a:pt x="42532" y="280479"/>
                      </a:lnTo>
                      <a:lnTo>
                        <a:pt x="57848" y="277317"/>
                      </a:lnTo>
                      <a:lnTo>
                        <a:pt x="70713" y="268744"/>
                      </a:lnTo>
                      <a:lnTo>
                        <a:pt x="83172" y="252056"/>
                      </a:lnTo>
                      <a:lnTo>
                        <a:pt x="156756" y="129120"/>
                      </a:lnTo>
                      <a:lnTo>
                        <a:pt x="230314" y="252056"/>
                      </a:lnTo>
                      <a:lnTo>
                        <a:pt x="242646" y="268744"/>
                      </a:lnTo>
                      <a:lnTo>
                        <a:pt x="255460" y="277317"/>
                      </a:lnTo>
                      <a:lnTo>
                        <a:pt x="270827" y="280479"/>
                      </a:lnTo>
                      <a:lnTo>
                        <a:pt x="290791" y="280936"/>
                      </a:lnTo>
                      <a:lnTo>
                        <a:pt x="313512" y="280936"/>
                      </a:lnTo>
                      <a:lnTo>
                        <a:pt x="313512" y="238721"/>
                      </a:lnTo>
                      <a:close/>
                    </a:path>
                    <a:path w="675004" h="281304">
                      <a:moveTo>
                        <a:pt x="674928" y="68872"/>
                      </a:moveTo>
                      <a:lnTo>
                        <a:pt x="653173" y="68872"/>
                      </a:lnTo>
                      <a:lnTo>
                        <a:pt x="622833" y="3213"/>
                      </a:lnTo>
                      <a:lnTo>
                        <a:pt x="419658" y="3213"/>
                      </a:lnTo>
                      <a:lnTo>
                        <a:pt x="395960" y="54330"/>
                      </a:lnTo>
                      <a:lnTo>
                        <a:pt x="389064" y="68872"/>
                      </a:lnTo>
                      <a:lnTo>
                        <a:pt x="367347" y="68872"/>
                      </a:lnTo>
                      <a:lnTo>
                        <a:pt x="367347" y="110591"/>
                      </a:lnTo>
                      <a:lnTo>
                        <a:pt x="396963" y="110591"/>
                      </a:lnTo>
                      <a:lnTo>
                        <a:pt x="411289" y="109651"/>
                      </a:lnTo>
                      <a:lnTo>
                        <a:pt x="422592" y="106095"/>
                      </a:lnTo>
                      <a:lnTo>
                        <a:pt x="431622" y="98729"/>
                      </a:lnTo>
                      <a:lnTo>
                        <a:pt x="439153" y="86423"/>
                      </a:lnTo>
                      <a:lnTo>
                        <a:pt x="455942" y="49860"/>
                      </a:lnTo>
                      <a:lnTo>
                        <a:pt x="586295" y="49860"/>
                      </a:lnTo>
                      <a:lnTo>
                        <a:pt x="604558" y="86423"/>
                      </a:lnTo>
                      <a:lnTo>
                        <a:pt x="647255" y="110591"/>
                      </a:lnTo>
                      <a:lnTo>
                        <a:pt x="674928" y="110591"/>
                      </a:lnTo>
                      <a:lnTo>
                        <a:pt x="674928" y="68872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sp>
            <p:nvSpPr>
              <p:cNvPr id="78" name="object 72"/>
              <p:cNvSpPr>
                <a:spLocks noChangeArrowheads="1"/>
              </p:cNvSpPr>
              <p:nvPr userDrawn="1"/>
            </p:nvSpPr>
            <p:spPr bwMode="auto">
              <a:xfrm>
                <a:off x="4174490" y="2959418"/>
                <a:ext cx="582613" cy="581025"/>
              </a:xfrm>
              <a:custGeom>
                <a:avLst/>
                <a:gdLst>
                  <a:gd name="T0" fmla="*/ 198927 w 582295"/>
                  <a:gd name="T1" fmla="*/ 14813 h 582295"/>
                  <a:gd name="T2" fmla="*/ 85145 w 582295"/>
                  <a:gd name="T3" fmla="*/ 85146 h 582295"/>
                  <a:gd name="T4" fmla="*/ 14813 w 582295"/>
                  <a:gd name="T5" fmla="*/ 198932 h 582295"/>
                  <a:gd name="T6" fmla="*/ 3802 w 582295"/>
                  <a:gd name="T7" fmla="*/ 338251 h 582295"/>
                  <a:gd name="T8" fmla="*/ 56080 w 582295"/>
                  <a:gd name="T9" fmla="*/ 462948 h 582295"/>
                  <a:gd name="T10" fmla="*/ 157164 w 582295"/>
                  <a:gd name="T11" fmla="*/ 549546 h 582295"/>
                  <a:gd name="T12" fmla="*/ 290985 w 582295"/>
                  <a:gd name="T13" fmla="*/ 581982 h 582295"/>
                  <a:gd name="T14" fmla="*/ 411521 w 582295"/>
                  <a:gd name="T15" fmla="*/ 555155 h 582295"/>
                  <a:gd name="T16" fmla="*/ 199405 w 582295"/>
                  <a:gd name="T17" fmla="*/ 538489 h 582295"/>
                  <a:gd name="T18" fmla="*/ 89829 w 582295"/>
                  <a:gd name="T19" fmla="*/ 460690 h 582295"/>
                  <a:gd name="T20" fmla="*/ 31911 w 582295"/>
                  <a:gd name="T21" fmla="*/ 338159 h 582295"/>
                  <a:gd name="T22" fmla="*/ 31857 w 582295"/>
                  <a:gd name="T23" fmla="*/ 243496 h 582295"/>
                  <a:gd name="T24" fmla="*/ 94308 w 582295"/>
                  <a:gd name="T25" fmla="*/ 198737 h 582295"/>
                  <a:gd name="T26" fmla="*/ 111360 w 582295"/>
                  <a:gd name="T27" fmla="*/ 98609 h 582295"/>
                  <a:gd name="T28" fmla="*/ 212796 w 582295"/>
                  <a:gd name="T29" fmla="*/ 59746 h 582295"/>
                  <a:gd name="T30" fmla="*/ 246691 w 582295"/>
                  <a:gd name="T31" fmla="*/ 30688 h 582295"/>
                  <a:gd name="T32" fmla="*/ 411516 w 582295"/>
                  <a:gd name="T33" fmla="*/ 26826 h 582295"/>
                  <a:gd name="T34" fmla="*/ 290985 w 582295"/>
                  <a:gd name="T35" fmla="*/ 0 h 582295"/>
                  <a:gd name="T36" fmla="*/ 544916 w 582295"/>
                  <a:gd name="T37" fmla="*/ 220755 h 582295"/>
                  <a:gd name="T38" fmla="*/ 554339 w 582295"/>
                  <a:gd name="T39" fmla="*/ 290996 h 582295"/>
                  <a:gd name="T40" fmla="*/ 518214 w 582295"/>
                  <a:gd name="T41" fmla="*/ 423782 h 582295"/>
                  <a:gd name="T42" fmla="*/ 423567 w 582295"/>
                  <a:gd name="T43" fmla="*/ 518820 h 582295"/>
                  <a:gd name="T44" fmla="*/ 290985 w 582295"/>
                  <a:gd name="T45" fmla="*/ 555155 h 582295"/>
                  <a:gd name="T46" fmla="*/ 496835 w 582295"/>
                  <a:gd name="T47" fmla="*/ 496840 h 582295"/>
                  <a:gd name="T48" fmla="*/ 567168 w 582295"/>
                  <a:gd name="T49" fmla="*/ 383058 h 582295"/>
                  <a:gd name="T50" fmla="*/ 578179 w 582295"/>
                  <a:gd name="T51" fmla="*/ 243740 h 582295"/>
                  <a:gd name="T52" fmla="*/ 94308 w 582295"/>
                  <a:gd name="T53" fmla="*/ 198737 h 582295"/>
                  <a:gd name="T54" fmla="*/ 202800 w 582295"/>
                  <a:gd name="T55" fmla="*/ 516141 h 582295"/>
                  <a:gd name="T56" fmla="*/ 255538 w 582295"/>
                  <a:gd name="T57" fmla="*/ 422269 h 582295"/>
                  <a:gd name="T58" fmla="*/ 94308 w 582295"/>
                  <a:gd name="T59" fmla="*/ 198737 h 582295"/>
                  <a:gd name="T60" fmla="*/ 294242 w 582295"/>
                  <a:gd name="T61" fmla="*/ 349926 h 582295"/>
                  <a:gd name="T62" fmla="*/ 379182 w 582295"/>
                  <a:gd name="T63" fmla="*/ 516141 h 582295"/>
                  <a:gd name="T64" fmla="*/ 373486 w 582295"/>
                  <a:gd name="T65" fmla="*/ 422269 h 582295"/>
                  <a:gd name="T66" fmla="*/ 317403 w 582295"/>
                  <a:gd name="T67" fmla="*/ 298713 h 582295"/>
                  <a:gd name="T68" fmla="*/ 260505 w 582295"/>
                  <a:gd name="T69" fmla="*/ 303592 h 582295"/>
                  <a:gd name="T70" fmla="*/ 255538 w 582295"/>
                  <a:gd name="T71" fmla="*/ 422269 h 582295"/>
                  <a:gd name="T72" fmla="*/ 340279 w 582295"/>
                  <a:gd name="T73" fmla="*/ 346670 h 582295"/>
                  <a:gd name="T74" fmla="*/ 317403 w 582295"/>
                  <a:gd name="T75" fmla="*/ 298713 h 582295"/>
                  <a:gd name="T76" fmla="*/ 445504 w 582295"/>
                  <a:gd name="T77" fmla="*/ 77596 h 582295"/>
                  <a:gd name="T78" fmla="*/ 512487 w 582295"/>
                  <a:gd name="T79" fmla="*/ 148749 h 582295"/>
                  <a:gd name="T80" fmla="*/ 537690 w 582295"/>
                  <a:gd name="T81" fmla="*/ 198737 h 582295"/>
                  <a:gd name="T82" fmla="*/ 525901 w 582295"/>
                  <a:gd name="T83" fmla="*/ 119040 h 582295"/>
                  <a:gd name="T84" fmla="*/ 212796 w 582295"/>
                  <a:gd name="T85" fmla="*/ 59746 h 582295"/>
                  <a:gd name="T86" fmla="*/ 262128 w 582295"/>
                  <a:gd name="T87" fmla="*/ 278399 h 582295"/>
                  <a:gd name="T88" fmla="*/ 319843 w 582295"/>
                  <a:gd name="T89" fmla="*/ 278399 h 582295"/>
                  <a:gd name="T90" fmla="*/ 289362 w 582295"/>
                  <a:gd name="T91" fmla="*/ 231249 h 582295"/>
                  <a:gd name="T92" fmla="*/ 411516 w 582295"/>
                  <a:gd name="T93" fmla="*/ 26826 h 582295"/>
                  <a:gd name="T94" fmla="*/ 335289 w 582295"/>
                  <a:gd name="T95" fmla="*/ 30688 h 582295"/>
                  <a:gd name="T96" fmla="*/ 294242 w 582295"/>
                  <a:gd name="T97" fmla="*/ 228003 h 582295"/>
                  <a:gd name="T98" fmla="*/ 417788 w 582295"/>
                  <a:gd name="T99" fmla="*/ 59746 h 582295"/>
                  <a:gd name="T100" fmla="*/ 424814 w 582295"/>
                  <a:gd name="T101" fmla="*/ 32438 h 582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82295" h="582295">
                    <a:moveTo>
                      <a:pt x="290985" y="0"/>
                    </a:moveTo>
                    <a:lnTo>
                      <a:pt x="243733" y="3802"/>
                    </a:lnTo>
                    <a:lnTo>
                      <a:pt x="198927" y="14813"/>
                    </a:lnTo>
                    <a:lnTo>
                      <a:pt x="157164" y="32438"/>
                    </a:lnTo>
                    <a:lnTo>
                      <a:pt x="119038" y="56080"/>
                    </a:lnTo>
                    <a:lnTo>
                      <a:pt x="85145" y="85146"/>
                    </a:lnTo>
                    <a:lnTo>
                      <a:pt x="56080" y="119040"/>
                    </a:lnTo>
                    <a:lnTo>
                      <a:pt x="32437" y="157167"/>
                    </a:lnTo>
                    <a:lnTo>
                      <a:pt x="14813" y="198932"/>
                    </a:lnTo>
                    <a:lnTo>
                      <a:pt x="3802" y="243740"/>
                    </a:lnTo>
                    <a:lnTo>
                      <a:pt x="0" y="290996"/>
                    </a:lnTo>
                    <a:lnTo>
                      <a:pt x="3802" y="338251"/>
                    </a:lnTo>
                    <a:lnTo>
                      <a:pt x="14813" y="383058"/>
                    </a:lnTo>
                    <a:lnTo>
                      <a:pt x="32437" y="424822"/>
                    </a:lnTo>
                    <a:lnTo>
                      <a:pt x="56080" y="462948"/>
                    </a:lnTo>
                    <a:lnTo>
                      <a:pt x="85145" y="496840"/>
                    </a:lnTo>
                    <a:lnTo>
                      <a:pt x="119038" y="525905"/>
                    </a:lnTo>
                    <a:lnTo>
                      <a:pt x="157164" y="549546"/>
                    </a:lnTo>
                    <a:lnTo>
                      <a:pt x="198927" y="567169"/>
                    </a:lnTo>
                    <a:lnTo>
                      <a:pt x="243733" y="578179"/>
                    </a:lnTo>
                    <a:lnTo>
                      <a:pt x="290985" y="581982"/>
                    </a:lnTo>
                    <a:lnTo>
                      <a:pt x="338241" y="578179"/>
                    </a:lnTo>
                    <a:lnTo>
                      <a:pt x="383049" y="567169"/>
                    </a:lnTo>
                    <a:lnTo>
                      <a:pt x="411521" y="555155"/>
                    </a:lnTo>
                    <a:lnTo>
                      <a:pt x="290985" y="555155"/>
                    </a:lnTo>
                    <a:lnTo>
                      <a:pt x="243850" y="550859"/>
                    </a:lnTo>
                    <a:lnTo>
                      <a:pt x="199405" y="538489"/>
                    </a:lnTo>
                    <a:lnTo>
                      <a:pt x="158411" y="518820"/>
                    </a:lnTo>
                    <a:lnTo>
                      <a:pt x="121631" y="492628"/>
                    </a:lnTo>
                    <a:lnTo>
                      <a:pt x="89829" y="460690"/>
                    </a:lnTo>
                    <a:lnTo>
                      <a:pt x="63766" y="423782"/>
                    </a:lnTo>
                    <a:lnTo>
                      <a:pt x="44206" y="382680"/>
                    </a:lnTo>
                    <a:lnTo>
                      <a:pt x="31911" y="338159"/>
                    </a:lnTo>
                    <a:lnTo>
                      <a:pt x="27643" y="290996"/>
                    </a:lnTo>
                    <a:lnTo>
                      <a:pt x="28702" y="266922"/>
                    </a:lnTo>
                    <a:lnTo>
                      <a:pt x="31857" y="243496"/>
                    </a:lnTo>
                    <a:lnTo>
                      <a:pt x="37069" y="220755"/>
                    </a:lnTo>
                    <a:lnTo>
                      <a:pt x="44302" y="198737"/>
                    </a:lnTo>
                    <a:lnTo>
                      <a:pt x="94308" y="198737"/>
                    </a:lnTo>
                    <a:lnTo>
                      <a:pt x="69505" y="148749"/>
                    </a:lnTo>
                    <a:lnTo>
                      <a:pt x="88986" y="122441"/>
                    </a:lnTo>
                    <a:lnTo>
                      <a:pt x="111360" y="98609"/>
                    </a:lnTo>
                    <a:lnTo>
                      <a:pt x="136479" y="77596"/>
                    </a:lnTo>
                    <a:lnTo>
                      <a:pt x="164193" y="59746"/>
                    </a:lnTo>
                    <a:lnTo>
                      <a:pt x="212796" y="59746"/>
                    </a:lnTo>
                    <a:lnTo>
                      <a:pt x="204831" y="41862"/>
                    </a:lnTo>
                    <a:lnTo>
                      <a:pt x="225381" y="35400"/>
                    </a:lnTo>
                    <a:lnTo>
                      <a:pt x="246691" y="30688"/>
                    </a:lnTo>
                    <a:lnTo>
                      <a:pt x="268609" y="27804"/>
                    </a:lnTo>
                    <a:lnTo>
                      <a:pt x="290985" y="26826"/>
                    </a:lnTo>
                    <a:lnTo>
                      <a:pt x="411516" y="26826"/>
                    </a:lnTo>
                    <a:lnTo>
                      <a:pt x="383049" y="14813"/>
                    </a:lnTo>
                    <a:lnTo>
                      <a:pt x="338241" y="3802"/>
                    </a:lnTo>
                    <a:lnTo>
                      <a:pt x="290985" y="0"/>
                    </a:lnTo>
                    <a:close/>
                  </a:path>
                  <a:path w="582295" h="582295">
                    <a:moveTo>
                      <a:pt x="567086" y="198737"/>
                    </a:moveTo>
                    <a:lnTo>
                      <a:pt x="537690" y="198737"/>
                    </a:lnTo>
                    <a:lnTo>
                      <a:pt x="544916" y="220755"/>
                    </a:lnTo>
                    <a:lnTo>
                      <a:pt x="550125" y="243496"/>
                    </a:lnTo>
                    <a:lnTo>
                      <a:pt x="553279" y="266922"/>
                    </a:lnTo>
                    <a:lnTo>
                      <a:pt x="554339" y="290996"/>
                    </a:lnTo>
                    <a:lnTo>
                      <a:pt x="550071" y="338159"/>
                    </a:lnTo>
                    <a:lnTo>
                      <a:pt x="537775" y="382680"/>
                    </a:lnTo>
                    <a:lnTo>
                      <a:pt x="518214" y="423782"/>
                    </a:lnTo>
                    <a:lnTo>
                      <a:pt x="492151" y="460690"/>
                    </a:lnTo>
                    <a:lnTo>
                      <a:pt x="460348" y="492628"/>
                    </a:lnTo>
                    <a:lnTo>
                      <a:pt x="423567" y="518820"/>
                    </a:lnTo>
                    <a:lnTo>
                      <a:pt x="382572" y="538489"/>
                    </a:lnTo>
                    <a:lnTo>
                      <a:pt x="338124" y="550859"/>
                    </a:lnTo>
                    <a:lnTo>
                      <a:pt x="290985" y="555155"/>
                    </a:lnTo>
                    <a:lnTo>
                      <a:pt x="411521" y="555155"/>
                    </a:lnTo>
                    <a:lnTo>
                      <a:pt x="462941" y="525905"/>
                    </a:lnTo>
                    <a:lnTo>
                      <a:pt x="496835" y="496840"/>
                    </a:lnTo>
                    <a:lnTo>
                      <a:pt x="525901" y="462948"/>
                    </a:lnTo>
                    <a:lnTo>
                      <a:pt x="549544" y="424822"/>
                    </a:lnTo>
                    <a:lnTo>
                      <a:pt x="567168" y="383058"/>
                    </a:lnTo>
                    <a:lnTo>
                      <a:pt x="578179" y="338251"/>
                    </a:lnTo>
                    <a:lnTo>
                      <a:pt x="581982" y="290996"/>
                    </a:lnTo>
                    <a:lnTo>
                      <a:pt x="578179" y="243740"/>
                    </a:lnTo>
                    <a:lnTo>
                      <a:pt x="567168" y="198932"/>
                    </a:lnTo>
                    <a:lnTo>
                      <a:pt x="567086" y="198737"/>
                    </a:lnTo>
                    <a:close/>
                  </a:path>
                  <a:path w="582295" h="582295">
                    <a:moveTo>
                      <a:pt x="94308" y="198737"/>
                    </a:moveTo>
                    <a:lnTo>
                      <a:pt x="44302" y="198737"/>
                    </a:lnTo>
                    <a:lnTo>
                      <a:pt x="200360" y="512916"/>
                    </a:lnTo>
                    <a:lnTo>
                      <a:pt x="202800" y="516141"/>
                    </a:lnTo>
                    <a:lnTo>
                      <a:pt x="212558" y="516141"/>
                    </a:lnTo>
                    <a:lnTo>
                      <a:pt x="215239" y="512832"/>
                    </a:lnTo>
                    <a:lnTo>
                      <a:pt x="255538" y="422269"/>
                    </a:lnTo>
                    <a:lnTo>
                      <a:pt x="205239" y="422269"/>
                    </a:lnTo>
                    <a:lnTo>
                      <a:pt x="203606" y="419013"/>
                    </a:lnTo>
                    <a:lnTo>
                      <a:pt x="94308" y="198737"/>
                    </a:lnTo>
                    <a:close/>
                  </a:path>
                  <a:path w="582295" h="582295">
                    <a:moveTo>
                      <a:pt x="340279" y="346670"/>
                    </a:moveTo>
                    <a:lnTo>
                      <a:pt x="292608" y="346670"/>
                    </a:lnTo>
                    <a:lnTo>
                      <a:pt x="294242" y="349926"/>
                    </a:lnTo>
                    <a:lnTo>
                      <a:pt x="366742" y="512832"/>
                    </a:lnTo>
                    <a:lnTo>
                      <a:pt x="369423" y="516141"/>
                    </a:lnTo>
                    <a:lnTo>
                      <a:pt x="379182" y="516141"/>
                    </a:lnTo>
                    <a:lnTo>
                      <a:pt x="381613" y="512916"/>
                    </a:lnTo>
                    <a:lnTo>
                      <a:pt x="426646" y="422269"/>
                    </a:lnTo>
                    <a:lnTo>
                      <a:pt x="373486" y="422269"/>
                    </a:lnTo>
                    <a:lnTo>
                      <a:pt x="371873" y="419013"/>
                    </a:lnTo>
                    <a:lnTo>
                      <a:pt x="340279" y="346670"/>
                    </a:lnTo>
                    <a:close/>
                  </a:path>
                  <a:path w="582295" h="582295">
                    <a:moveTo>
                      <a:pt x="317403" y="298713"/>
                    </a:moveTo>
                    <a:lnTo>
                      <a:pt x="264578" y="298713"/>
                    </a:lnTo>
                    <a:lnTo>
                      <a:pt x="262128" y="299530"/>
                    </a:lnTo>
                    <a:lnTo>
                      <a:pt x="260505" y="303592"/>
                    </a:lnTo>
                    <a:lnTo>
                      <a:pt x="210108" y="419013"/>
                    </a:lnTo>
                    <a:lnTo>
                      <a:pt x="208485" y="422269"/>
                    </a:lnTo>
                    <a:lnTo>
                      <a:pt x="255538" y="422269"/>
                    </a:lnTo>
                    <a:lnTo>
                      <a:pt x="287729" y="349926"/>
                    </a:lnTo>
                    <a:lnTo>
                      <a:pt x="289362" y="346670"/>
                    </a:lnTo>
                    <a:lnTo>
                      <a:pt x="340279" y="346670"/>
                    </a:lnTo>
                    <a:lnTo>
                      <a:pt x="321466" y="303592"/>
                    </a:lnTo>
                    <a:lnTo>
                      <a:pt x="319843" y="299530"/>
                    </a:lnTo>
                    <a:lnTo>
                      <a:pt x="317403" y="298713"/>
                    </a:lnTo>
                    <a:close/>
                  </a:path>
                  <a:path w="582295" h="582295">
                    <a:moveTo>
                      <a:pt x="467216" y="59746"/>
                    </a:moveTo>
                    <a:lnTo>
                      <a:pt x="417788" y="59746"/>
                    </a:lnTo>
                    <a:lnTo>
                      <a:pt x="445504" y="77596"/>
                    </a:lnTo>
                    <a:lnTo>
                      <a:pt x="470627" y="98609"/>
                    </a:lnTo>
                    <a:lnTo>
                      <a:pt x="493004" y="122441"/>
                    </a:lnTo>
                    <a:lnTo>
                      <a:pt x="512487" y="148749"/>
                    </a:lnTo>
                    <a:lnTo>
                      <a:pt x="376742" y="422269"/>
                    </a:lnTo>
                    <a:lnTo>
                      <a:pt x="426646" y="422269"/>
                    </a:lnTo>
                    <a:lnTo>
                      <a:pt x="537690" y="198737"/>
                    </a:lnTo>
                    <a:lnTo>
                      <a:pt x="567086" y="198737"/>
                    </a:lnTo>
                    <a:lnTo>
                      <a:pt x="549544" y="157167"/>
                    </a:lnTo>
                    <a:lnTo>
                      <a:pt x="525901" y="119040"/>
                    </a:lnTo>
                    <a:lnTo>
                      <a:pt x="496835" y="85146"/>
                    </a:lnTo>
                    <a:lnTo>
                      <a:pt x="467216" y="59746"/>
                    </a:lnTo>
                    <a:close/>
                  </a:path>
                  <a:path w="582295" h="582295">
                    <a:moveTo>
                      <a:pt x="212796" y="59746"/>
                    </a:moveTo>
                    <a:lnTo>
                      <a:pt x="164193" y="59746"/>
                    </a:lnTo>
                    <a:lnTo>
                      <a:pt x="260505" y="274337"/>
                    </a:lnTo>
                    <a:lnTo>
                      <a:pt x="262128" y="278399"/>
                    </a:lnTo>
                    <a:lnTo>
                      <a:pt x="264578" y="279206"/>
                    </a:lnTo>
                    <a:lnTo>
                      <a:pt x="317403" y="279206"/>
                    </a:lnTo>
                    <a:lnTo>
                      <a:pt x="319843" y="278399"/>
                    </a:lnTo>
                    <a:lnTo>
                      <a:pt x="321466" y="274337"/>
                    </a:lnTo>
                    <a:lnTo>
                      <a:pt x="340807" y="231249"/>
                    </a:lnTo>
                    <a:lnTo>
                      <a:pt x="289362" y="231249"/>
                    </a:lnTo>
                    <a:lnTo>
                      <a:pt x="287729" y="228003"/>
                    </a:lnTo>
                    <a:lnTo>
                      <a:pt x="212796" y="59746"/>
                    </a:lnTo>
                    <a:close/>
                  </a:path>
                  <a:path w="582295" h="582295">
                    <a:moveTo>
                      <a:pt x="411516" y="26826"/>
                    </a:moveTo>
                    <a:lnTo>
                      <a:pt x="290985" y="26826"/>
                    </a:lnTo>
                    <a:lnTo>
                      <a:pt x="313367" y="27804"/>
                    </a:lnTo>
                    <a:lnTo>
                      <a:pt x="335289" y="30688"/>
                    </a:lnTo>
                    <a:lnTo>
                      <a:pt x="356600" y="35400"/>
                    </a:lnTo>
                    <a:lnTo>
                      <a:pt x="377150" y="41862"/>
                    </a:lnTo>
                    <a:lnTo>
                      <a:pt x="294242" y="228003"/>
                    </a:lnTo>
                    <a:lnTo>
                      <a:pt x="292608" y="231249"/>
                    </a:lnTo>
                    <a:lnTo>
                      <a:pt x="340807" y="231249"/>
                    </a:lnTo>
                    <a:lnTo>
                      <a:pt x="417788" y="59746"/>
                    </a:lnTo>
                    <a:lnTo>
                      <a:pt x="467216" y="59746"/>
                    </a:lnTo>
                    <a:lnTo>
                      <a:pt x="462941" y="56080"/>
                    </a:lnTo>
                    <a:lnTo>
                      <a:pt x="424814" y="32438"/>
                    </a:lnTo>
                    <a:lnTo>
                      <a:pt x="411516" y="26826"/>
                    </a:lnTo>
                    <a:close/>
                  </a:path>
                </a:pathLst>
              </a:custGeom>
              <a:solidFill>
                <a:srgbClr val="1F2F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79" name="object 73"/>
              <p:cNvGrpSpPr/>
              <p:nvPr userDrawn="1"/>
            </p:nvGrpSpPr>
            <p:grpSpPr bwMode="auto">
              <a:xfrm>
                <a:off x="3252153" y="2976880"/>
                <a:ext cx="814387" cy="542925"/>
                <a:chOff x="9663221" y="6807394"/>
                <a:chExt cx="814705" cy="542925"/>
              </a:xfrm>
            </p:grpSpPr>
            <p:sp>
              <p:nvSpPr>
                <p:cNvPr id="80" name="object 74"/>
                <p:cNvSpPr>
                  <a:spLocks noChangeArrowheads="1"/>
                </p:cNvSpPr>
                <p:nvPr/>
              </p:nvSpPr>
              <p:spPr bwMode="auto">
                <a:xfrm>
                  <a:off x="9663221" y="6807394"/>
                  <a:ext cx="814705" cy="542925"/>
                </a:xfrm>
                <a:custGeom>
                  <a:avLst/>
                  <a:gdLst>
                    <a:gd name="T0" fmla="*/ 351965 w 814704"/>
                    <a:gd name="T1" fmla="*/ 2478 h 542925"/>
                    <a:gd name="T2" fmla="*/ 248713 w 814704"/>
                    <a:gd name="T3" fmla="*/ 21332 h 542925"/>
                    <a:gd name="T4" fmla="*/ 158380 w 814704"/>
                    <a:gd name="T5" fmla="*/ 56560 h 542925"/>
                    <a:gd name="T6" fmla="*/ 84849 w 814704"/>
                    <a:gd name="T7" fmla="*/ 105575 h 542925"/>
                    <a:gd name="T8" fmla="*/ 32001 w 814704"/>
                    <a:gd name="T9" fmla="*/ 165789 h 542925"/>
                    <a:gd name="T10" fmla="*/ 0 w 814704"/>
                    <a:gd name="T11" fmla="*/ 271447 h 542925"/>
                    <a:gd name="T12" fmla="*/ 32001 w 814704"/>
                    <a:gd name="T13" fmla="*/ 377110 h 542925"/>
                    <a:gd name="T14" fmla="*/ 84849 w 814704"/>
                    <a:gd name="T15" fmla="*/ 437327 h 542925"/>
                    <a:gd name="T16" fmla="*/ 158380 w 814704"/>
                    <a:gd name="T17" fmla="*/ 486343 h 542925"/>
                    <a:gd name="T18" fmla="*/ 248713 w 814704"/>
                    <a:gd name="T19" fmla="*/ 521572 h 542925"/>
                    <a:gd name="T20" fmla="*/ 351965 w 814704"/>
                    <a:gd name="T21" fmla="*/ 540426 h 542925"/>
                    <a:gd name="T22" fmla="*/ 462481 w 814704"/>
                    <a:gd name="T23" fmla="*/ 540426 h 542925"/>
                    <a:gd name="T24" fmla="*/ 565733 w 814704"/>
                    <a:gd name="T25" fmla="*/ 521572 h 542925"/>
                    <a:gd name="T26" fmla="*/ 407223 w 814704"/>
                    <a:gd name="T27" fmla="*/ 514392 h 542925"/>
                    <a:gd name="T28" fmla="*/ 307050 w 814704"/>
                    <a:gd name="T29" fmla="*/ 505743 h 542925"/>
                    <a:gd name="T30" fmla="*/ 215191 w 814704"/>
                    <a:gd name="T31" fmla="*/ 480519 h 542925"/>
                    <a:gd name="T32" fmla="*/ 135597 w 814704"/>
                    <a:gd name="T33" fmla="*/ 439808 h 542925"/>
                    <a:gd name="T34" fmla="*/ 56561 w 814704"/>
                    <a:gd name="T35" fmla="*/ 361992 h 542925"/>
                    <a:gd name="T36" fmla="*/ 29056 w 814704"/>
                    <a:gd name="T37" fmla="*/ 271447 h 542925"/>
                    <a:gd name="T38" fmla="*/ 56561 w 814704"/>
                    <a:gd name="T39" fmla="*/ 180910 h 542925"/>
                    <a:gd name="T40" fmla="*/ 135597 w 814704"/>
                    <a:gd name="T41" fmla="*/ 103096 h 542925"/>
                    <a:gd name="T42" fmla="*/ 215191 w 814704"/>
                    <a:gd name="T43" fmla="*/ 62385 h 542925"/>
                    <a:gd name="T44" fmla="*/ 307050 w 814704"/>
                    <a:gd name="T45" fmla="*/ 37161 h 542925"/>
                    <a:gd name="T46" fmla="*/ 407223 w 814704"/>
                    <a:gd name="T47" fmla="*/ 28512 h 542925"/>
                    <a:gd name="T48" fmla="*/ 565733 w 814704"/>
                    <a:gd name="T49" fmla="*/ 21332 h 542925"/>
                    <a:gd name="T50" fmla="*/ 462481 w 814704"/>
                    <a:gd name="T51" fmla="*/ 2478 h 542925"/>
                    <a:gd name="T52" fmla="*/ 587198 w 814704"/>
                    <a:gd name="T53" fmla="*/ 28512 h 542925"/>
                    <a:gd name="T54" fmla="*/ 458101 w 814704"/>
                    <a:gd name="T55" fmla="*/ 30697 h 542925"/>
                    <a:gd name="T56" fmla="*/ 554611 w 814704"/>
                    <a:gd name="T57" fmla="*/ 47769 h 542925"/>
                    <a:gd name="T58" fmla="*/ 640831 w 814704"/>
                    <a:gd name="T59" fmla="*/ 80872 h 542925"/>
                    <a:gd name="T60" fmla="*/ 724482 w 814704"/>
                    <a:gd name="T61" fmla="*/ 139896 h 542925"/>
                    <a:gd name="T62" fmla="*/ 778404 w 814704"/>
                    <a:gd name="T63" fmla="*/ 225105 h 542925"/>
                    <a:gd name="T64" fmla="*/ 778404 w 814704"/>
                    <a:gd name="T65" fmla="*/ 317795 h 542925"/>
                    <a:gd name="T66" fmla="*/ 724482 w 814704"/>
                    <a:gd name="T67" fmla="*/ 403007 h 542925"/>
                    <a:gd name="T68" fmla="*/ 640831 w 814704"/>
                    <a:gd name="T69" fmla="*/ 462032 h 542925"/>
                    <a:gd name="T70" fmla="*/ 554611 w 814704"/>
                    <a:gd name="T71" fmla="*/ 495135 h 542925"/>
                    <a:gd name="T72" fmla="*/ 458101 w 814704"/>
                    <a:gd name="T73" fmla="*/ 512207 h 542925"/>
                    <a:gd name="T74" fmla="*/ 587197 w 814704"/>
                    <a:gd name="T75" fmla="*/ 514392 h 542925"/>
                    <a:gd name="T76" fmla="*/ 695173 w 814704"/>
                    <a:gd name="T77" fmla="*/ 463396 h 542925"/>
                    <a:gd name="T78" fmla="*/ 758848 w 814704"/>
                    <a:gd name="T79" fmla="*/ 408457 h 542925"/>
                    <a:gd name="T80" fmla="*/ 810728 w 814704"/>
                    <a:gd name="T81" fmla="*/ 308282 h 542925"/>
                    <a:gd name="T82" fmla="*/ 810728 w 814704"/>
                    <a:gd name="T83" fmla="*/ 234614 h 542925"/>
                    <a:gd name="T84" fmla="*/ 758848 w 814704"/>
                    <a:gd name="T85" fmla="*/ 134444 h 542925"/>
                    <a:gd name="T86" fmla="*/ 695173 w 814704"/>
                    <a:gd name="T87" fmla="*/ 79506 h 542925"/>
                    <a:gd name="T88" fmla="*/ 612756 w 814704"/>
                    <a:gd name="T89" fmla="*/ 37061 h 542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14704" h="542925">
                      <a:moveTo>
                        <a:pt x="407223" y="0"/>
                      </a:moveTo>
                      <a:lnTo>
                        <a:pt x="351965" y="2478"/>
                      </a:lnTo>
                      <a:lnTo>
                        <a:pt x="298966" y="9696"/>
                      </a:lnTo>
                      <a:lnTo>
                        <a:pt x="248713" y="21332"/>
                      </a:lnTo>
                      <a:lnTo>
                        <a:pt x="201689" y="37061"/>
                      </a:lnTo>
                      <a:lnTo>
                        <a:pt x="158380" y="56560"/>
                      </a:lnTo>
                      <a:lnTo>
                        <a:pt x="119272" y="79506"/>
                      </a:lnTo>
                      <a:lnTo>
                        <a:pt x="84849" y="105575"/>
                      </a:lnTo>
                      <a:lnTo>
                        <a:pt x="55597" y="134444"/>
                      </a:lnTo>
                      <a:lnTo>
                        <a:pt x="32001" y="165789"/>
                      </a:lnTo>
                      <a:lnTo>
                        <a:pt x="3717" y="234614"/>
                      </a:lnTo>
                      <a:lnTo>
                        <a:pt x="0" y="271447"/>
                      </a:lnTo>
                      <a:lnTo>
                        <a:pt x="3717" y="308282"/>
                      </a:lnTo>
                      <a:lnTo>
                        <a:pt x="32001" y="377110"/>
                      </a:lnTo>
                      <a:lnTo>
                        <a:pt x="55597" y="408457"/>
                      </a:lnTo>
                      <a:lnTo>
                        <a:pt x="84849" y="437327"/>
                      </a:lnTo>
                      <a:lnTo>
                        <a:pt x="119272" y="463396"/>
                      </a:lnTo>
                      <a:lnTo>
                        <a:pt x="158380" y="486343"/>
                      </a:lnTo>
                      <a:lnTo>
                        <a:pt x="201689" y="505843"/>
                      </a:lnTo>
                      <a:lnTo>
                        <a:pt x="248713" y="521572"/>
                      </a:lnTo>
                      <a:lnTo>
                        <a:pt x="298966" y="533208"/>
                      </a:lnTo>
                      <a:lnTo>
                        <a:pt x="351965" y="540426"/>
                      </a:lnTo>
                      <a:lnTo>
                        <a:pt x="407223" y="542904"/>
                      </a:lnTo>
                      <a:lnTo>
                        <a:pt x="462481" y="540426"/>
                      </a:lnTo>
                      <a:lnTo>
                        <a:pt x="515479" y="533208"/>
                      </a:lnTo>
                      <a:lnTo>
                        <a:pt x="565733" y="521572"/>
                      </a:lnTo>
                      <a:lnTo>
                        <a:pt x="587197" y="514392"/>
                      </a:lnTo>
                      <a:lnTo>
                        <a:pt x="407223" y="514392"/>
                      </a:lnTo>
                      <a:lnTo>
                        <a:pt x="356344" y="512207"/>
                      </a:lnTo>
                      <a:lnTo>
                        <a:pt x="307050" y="505743"/>
                      </a:lnTo>
                      <a:lnTo>
                        <a:pt x="259835" y="495135"/>
                      </a:lnTo>
                      <a:lnTo>
                        <a:pt x="215191" y="480519"/>
                      </a:lnTo>
                      <a:lnTo>
                        <a:pt x="173614" y="462032"/>
                      </a:lnTo>
                      <a:lnTo>
                        <a:pt x="135597" y="439808"/>
                      </a:lnTo>
                      <a:lnTo>
                        <a:pt x="89963" y="403007"/>
                      </a:lnTo>
                      <a:lnTo>
                        <a:pt x="56561" y="361992"/>
                      </a:lnTo>
                      <a:lnTo>
                        <a:pt x="36041" y="317795"/>
                      </a:lnTo>
                      <a:lnTo>
                        <a:pt x="29056" y="271447"/>
                      </a:lnTo>
                      <a:lnTo>
                        <a:pt x="36041" y="225105"/>
                      </a:lnTo>
                      <a:lnTo>
                        <a:pt x="56561" y="180910"/>
                      </a:lnTo>
                      <a:lnTo>
                        <a:pt x="89963" y="139896"/>
                      </a:lnTo>
                      <a:lnTo>
                        <a:pt x="135597" y="103096"/>
                      </a:lnTo>
                      <a:lnTo>
                        <a:pt x="173614" y="80872"/>
                      </a:lnTo>
                      <a:lnTo>
                        <a:pt x="215191" y="62385"/>
                      </a:lnTo>
                      <a:lnTo>
                        <a:pt x="259835" y="47769"/>
                      </a:lnTo>
                      <a:lnTo>
                        <a:pt x="307050" y="37161"/>
                      </a:lnTo>
                      <a:lnTo>
                        <a:pt x="356344" y="30697"/>
                      </a:lnTo>
                      <a:lnTo>
                        <a:pt x="407223" y="28512"/>
                      </a:lnTo>
                      <a:lnTo>
                        <a:pt x="587198" y="28512"/>
                      </a:lnTo>
                      <a:lnTo>
                        <a:pt x="565733" y="21332"/>
                      </a:lnTo>
                      <a:lnTo>
                        <a:pt x="515479" y="9696"/>
                      </a:lnTo>
                      <a:lnTo>
                        <a:pt x="462481" y="2478"/>
                      </a:lnTo>
                      <a:lnTo>
                        <a:pt x="407223" y="0"/>
                      </a:lnTo>
                      <a:close/>
                    </a:path>
                    <a:path w="814704" h="542925">
                      <a:moveTo>
                        <a:pt x="587198" y="28512"/>
                      </a:moveTo>
                      <a:lnTo>
                        <a:pt x="407223" y="28512"/>
                      </a:lnTo>
                      <a:lnTo>
                        <a:pt x="458101" y="30697"/>
                      </a:lnTo>
                      <a:lnTo>
                        <a:pt x="507395" y="37161"/>
                      </a:lnTo>
                      <a:lnTo>
                        <a:pt x="554611" y="47769"/>
                      </a:lnTo>
                      <a:lnTo>
                        <a:pt x="599254" y="62385"/>
                      </a:lnTo>
                      <a:lnTo>
                        <a:pt x="640831" y="80872"/>
                      </a:lnTo>
                      <a:lnTo>
                        <a:pt x="678848" y="103096"/>
                      </a:lnTo>
                      <a:lnTo>
                        <a:pt x="724482" y="139896"/>
                      </a:lnTo>
                      <a:lnTo>
                        <a:pt x="757885" y="180910"/>
                      </a:lnTo>
                      <a:lnTo>
                        <a:pt x="778404" y="225105"/>
                      </a:lnTo>
                      <a:lnTo>
                        <a:pt x="785389" y="271447"/>
                      </a:lnTo>
                      <a:lnTo>
                        <a:pt x="778404" y="317795"/>
                      </a:lnTo>
                      <a:lnTo>
                        <a:pt x="757885" y="361992"/>
                      </a:lnTo>
                      <a:lnTo>
                        <a:pt x="724482" y="403007"/>
                      </a:lnTo>
                      <a:lnTo>
                        <a:pt x="678848" y="439808"/>
                      </a:lnTo>
                      <a:lnTo>
                        <a:pt x="640831" y="462032"/>
                      </a:lnTo>
                      <a:lnTo>
                        <a:pt x="599254" y="480519"/>
                      </a:lnTo>
                      <a:lnTo>
                        <a:pt x="554611" y="495135"/>
                      </a:lnTo>
                      <a:lnTo>
                        <a:pt x="507395" y="505743"/>
                      </a:lnTo>
                      <a:lnTo>
                        <a:pt x="458101" y="512207"/>
                      </a:lnTo>
                      <a:lnTo>
                        <a:pt x="407223" y="514392"/>
                      </a:lnTo>
                      <a:lnTo>
                        <a:pt x="587197" y="514392"/>
                      </a:lnTo>
                      <a:lnTo>
                        <a:pt x="656065" y="486343"/>
                      </a:lnTo>
                      <a:lnTo>
                        <a:pt x="695173" y="463396"/>
                      </a:lnTo>
                      <a:lnTo>
                        <a:pt x="729596" y="437327"/>
                      </a:lnTo>
                      <a:lnTo>
                        <a:pt x="758848" y="408457"/>
                      </a:lnTo>
                      <a:lnTo>
                        <a:pt x="782444" y="377110"/>
                      </a:lnTo>
                      <a:lnTo>
                        <a:pt x="810728" y="308282"/>
                      </a:lnTo>
                      <a:lnTo>
                        <a:pt x="814446" y="271447"/>
                      </a:lnTo>
                      <a:lnTo>
                        <a:pt x="810728" y="234614"/>
                      </a:lnTo>
                      <a:lnTo>
                        <a:pt x="782444" y="165789"/>
                      </a:lnTo>
                      <a:lnTo>
                        <a:pt x="758848" y="134444"/>
                      </a:lnTo>
                      <a:lnTo>
                        <a:pt x="729596" y="105575"/>
                      </a:lnTo>
                      <a:lnTo>
                        <a:pt x="695173" y="79506"/>
                      </a:lnTo>
                      <a:lnTo>
                        <a:pt x="656065" y="56560"/>
                      </a:lnTo>
                      <a:lnTo>
                        <a:pt x="612756" y="37061"/>
                      </a:lnTo>
                      <a:lnTo>
                        <a:pt x="587198" y="28512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81" name="object 75"/>
                <p:cNvPicPr>
                  <a:picLocks noChangeArrowheads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24181" y="7130950"/>
                  <a:ext cx="178601" cy="710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object 76"/>
                <p:cNvSpPr>
                  <a:spLocks noChangeArrowheads="1"/>
                </p:cNvSpPr>
                <p:nvPr/>
              </p:nvSpPr>
              <p:spPr bwMode="auto">
                <a:xfrm>
                  <a:off x="9754171" y="6885209"/>
                  <a:ext cx="633095" cy="387350"/>
                </a:xfrm>
                <a:custGeom>
                  <a:avLst/>
                  <a:gdLst>
                    <a:gd name="T0" fmla="*/ 248602 w 633095"/>
                    <a:gd name="T1" fmla="*/ 180149 h 387350"/>
                    <a:gd name="T2" fmla="*/ 32524 w 633095"/>
                    <a:gd name="T3" fmla="*/ 180149 h 387350"/>
                    <a:gd name="T4" fmla="*/ 43903 w 633095"/>
                    <a:gd name="T5" fmla="*/ 207721 h 387350"/>
                    <a:gd name="T6" fmla="*/ 48602 w 633095"/>
                    <a:gd name="T7" fmla="*/ 215074 h 387350"/>
                    <a:gd name="T8" fmla="*/ 55219 w 633095"/>
                    <a:gd name="T9" fmla="*/ 220726 h 387350"/>
                    <a:gd name="T10" fmla="*/ 63207 w 633095"/>
                    <a:gd name="T11" fmla="*/ 224358 h 387350"/>
                    <a:gd name="T12" fmla="*/ 71945 w 633095"/>
                    <a:gd name="T13" fmla="*/ 225640 h 387350"/>
                    <a:gd name="T14" fmla="*/ 248602 w 633095"/>
                    <a:gd name="T15" fmla="*/ 225640 h 387350"/>
                    <a:gd name="T16" fmla="*/ 248602 w 633095"/>
                    <a:gd name="T17" fmla="*/ 180149 h 387350"/>
                    <a:gd name="T18" fmla="*/ 248602 w 633095"/>
                    <a:gd name="T19" fmla="*/ 100914 h 387350"/>
                    <a:gd name="T20" fmla="*/ 0 w 633095"/>
                    <a:gd name="T21" fmla="*/ 100914 h 387350"/>
                    <a:gd name="T22" fmla="*/ 11379 w 633095"/>
                    <a:gd name="T23" fmla="*/ 128473 h 387350"/>
                    <a:gd name="T24" fmla="*/ 16078 w 633095"/>
                    <a:gd name="T25" fmla="*/ 135839 h 387350"/>
                    <a:gd name="T26" fmla="*/ 22694 w 633095"/>
                    <a:gd name="T27" fmla="*/ 141490 h 387350"/>
                    <a:gd name="T28" fmla="*/ 30670 w 633095"/>
                    <a:gd name="T29" fmla="*/ 145135 h 387350"/>
                    <a:gd name="T30" fmla="*/ 39408 w 633095"/>
                    <a:gd name="T31" fmla="*/ 146418 h 387350"/>
                    <a:gd name="T32" fmla="*/ 248602 w 633095"/>
                    <a:gd name="T33" fmla="*/ 146418 h 387350"/>
                    <a:gd name="T34" fmla="*/ 248602 w 633095"/>
                    <a:gd name="T35" fmla="*/ 100914 h 387350"/>
                    <a:gd name="T36" fmla="*/ 383908 w 633095"/>
                    <a:gd name="T37" fmla="*/ 343484 h 387350"/>
                    <a:gd name="T38" fmla="*/ 353504 w 633095"/>
                    <a:gd name="T39" fmla="*/ 343484 h 387350"/>
                    <a:gd name="T40" fmla="*/ 348869 w 633095"/>
                    <a:gd name="T41" fmla="*/ 338924 h 387350"/>
                    <a:gd name="T42" fmla="*/ 348869 w 633095"/>
                    <a:gd name="T43" fmla="*/ 0 h 387350"/>
                    <a:gd name="T44" fmla="*/ 323748 w 633095"/>
                    <a:gd name="T45" fmla="*/ 0 h 387350"/>
                    <a:gd name="T46" fmla="*/ 262750 w 633095"/>
                    <a:gd name="T47" fmla="*/ 25336 h 387350"/>
                    <a:gd name="T48" fmla="*/ 254584 w 633095"/>
                    <a:gd name="T49" fmla="*/ 28219 h 387350"/>
                    <a:gd name="T50" fmla="*/ 254584 w 633095"/>
                    <a:gd name="T51" fmla="*/ 56146 h 387350"/>
                    <a:gd name="T52" fmla="*/ 279349 w 633095"/>
                    <a:gd name="T53" fmla="*/ 56146 h 387350"/>
                    <a:gd name="T54" fmla="*/ 283641 w 633095"/>
                    <a:gd name="T55" fmla="*/ 60350 h 387350"/>
                    <a:gd name="T56" fmla="*/ 283641 w 633095"/>
                    <a:gd name="T57" fmla="*/ 338924 h 387350"/>
                    <a:gd name="T58" fmla="*/ 279006 w 633095"/>
                    <a:gd name="T59" fmla="*/ 343484 h 387350"/>
                    <a:gd name="T60" fmla="*/ 248602 w 633095"/>
                    <a:gd name="T61" fmla="*/ 343484 h 387350"/>
                    <a:gd name="T62" fmla="*/ 248602 w 633095"/>
                    <a:gd name="T63" fmla="*/ 387286 h 387350"/>
                    <a:gd name="T64" fmla="*/ 383908 w 633095"/>
                    <a:gd name="T65" fmla="*/ 387286 h 387350"/>
                    <a:gd name="T66" fmla="*/ 383908 w 633095"/>
                    <a:gd name="T67" fmla="*/ 343484 h 387350"/>
                    <a:gd name="T68" fmla="*/ 599986 w 633095"/>
                    <a:gd name="T69" fmla="*/ 180149 h 387350"/>
                    <a:gd name="T70" fmla="*/ 383908 w 633095"/>
                    <a:gd name="T71" fmla="*/ 180149 h 387350"/>
                    <a:gd name="T72" fmla="*/ 383908 w 633095"/>
                    <a:gd name="T73" fmla="*/ 225640 h 387350"/>
                    <a:gd name="T74" fmla="*/ 560565 w 633095"/>
                    <a:gd name="T75" fmla="*/ 225640 h 387350"/>
                    <a:gd name="T76" fmla="*/ 569315 w 633095"/>
                    <a:gd name="T77" fmla="*/ 224358 h 387350"/>
                    <a:gd name="T78" fmla="*/ 577291 w 633095"/>
                    <a:gd name="T79" fmla="*/ 220726 h 387350"/>
                    <a:gd name="T80" fmla="*/ 583920 w 633095"/>
                    <a:gd name="T81" fmla="*/ 215074 h 387350"/>
                    <a:gd name="T82" fmla="*/ 588619 w 633095"/>
                    <a:gd name="T83" fmla="*/ 207721 h 387350"/>
                    <a:gd name="T84" fmla="*/ 599986 w 633095"/>
                    <a:gd name="T85" fmla="*/ 180149 h 387350"/>
                    <a:gd name="T86" fmla="*/ 632548 w 633095"/>
                    <a:gd name="T87" fmla="*/ 100926 h 387350"/>
                    <a:gd name="T88" fmla="*/ 436905 w 633095"/>
                    <a:gd name="T89" fmla="*/ 100926 h 387350"/>
                    <a:gd name="T90" fmla="*/ 436905 w 633095"/>
                    <a:gd name="T91" fmla="*/ 88277 h 387350"/>
                    <a:gd name="T92" fmla="*/ 383946 w 633095"/>
                    <a:gd name="T93" fmla="*/ 88277 h 387350"/>
                    <a:gd name="T94" fmla="*/ 383921 w 633095"/>
                    <a:gd name="T95" fmla="*/ 146418 h 387350"/>
                    <a:gd name="T96" fmla="*/ 593128 w 633095"/>
                    <a:gd name="T97" fmla="*/ 146418 h 387350"/>
                    <a:gd name="T98" fmla="*/ 601865 w 633095"/>
                    <a:gd name="T99" fmla="*/ 145135 h 387350"/>
                    <a:gd name="T100" fmla="*/ 609841 w 633095"/>
                    <a:gd name="T101" fmla="*/ 141503 h 387350"/>
                    <a:gd name="T102" fmla="*/ 616470 w 633095"/>
                    <a:gd name="T103" fmla="*/ 135839 h 387350"/>
                    <a:gd name="T104" fmla="*/ 621169 w 633095"/>
                    <a:gd name="T105" fmla="*/ 128485 h 387350"/>
                    <a:gd name="T106" fmla="*/ 632548 w 633095"/>
                    <a:gd name="T107" fmla="*/ 100926 h 387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3095" h="387350">
                      <a:moveTo>
                        <a:pt x="248602" y="180149"/>
                      </a:moveTo>
                      <a:lnTo>
                        <a:pt x="32524" y="180149"/>
                      </a:lnTo>
                      <a:lnTo>
                        <a:pt x="43903" y="207721"/>
                      </a:lnTo>
                      <a:lnTo>
                        <a:pt x="48602" y="215074"/>
                      </a:lnTo>
                      <a:lnTo>
                        <a:pt x="55219" y="220726"/>
                      </a:lnTo>
                      <a:lnTo>
                        <a:pt x="63207" y="224358"/>
                      </a:lnTo>
                      <a:lnTo>
                        <a:pt x="71945" y="225640"/>
                      </a:lnTo>
                      <a:lnTo>
                        <a:pt x="248602" y="225640"/>
                      </a:lnTo>
                      <a:lnTo>
                        <a:pt x="248602" y="180149"/>
                      </a:lnTo>
                      <a:close/>
                    </a:path>
                    <a:path w="633095" h="387350">
                      <a:moveTo>
                        <a:pt x="248602" y="100914"/>
                      </a:moveTo>
                      <a:lnTo>
                        <a:pt x="0" y="100914"/>
                      </a:lnTo>
                      <a:lnTo>
                        <a:pt x="11379" y="128473"/>
                      </a:lnTo>
                      <a:lnTo>
                        <a:pt x="16078" y="135839"/>
                      </a:lnTo>
                      <a:lnTo>
                        <a:pt x="22694" y="141490"/>
                      </a:lnTo>
                      <a:lnTo>
                        <a:pt x="30670" y="145135"/>
                      </a:lnTo>
                      <a:lnTo>
                        <a:pt x="39408" y="146418"/>
                      </a:lnTo>
                      <a:lnTo>
                        <a:pt x="248602" y="146418"/>
                      </a:lnTo>
                      <a:lnTo>
                        <a:pt x="248602" y="100914"/>
                      </a:lnTo>
                      <a:close/>
                    </a:path>
                    <a:path w="633095" h="387350">
                      <a:moveTo>
                        <a:pt x="383908" y="343484"/>
                      </a:moveTo>
                      <a:lnTo>
                        <a:pt x="353504" y="343484"/>
                      </a:lnTo>
                      <a:lnTo>
                        <a:pt x="348869" y="338924"/>
                      </a:lnTo>
                      <a:lnTo>
                        <a:pt x="348869" y="0"/>
                      </a:lnTo>
                      <a:lnTo>
                        <a:pt x="323748" y="0"/>
                      </a:lnTo>
                      <a:lnTo>
                        <a:pt x="262750" y="25336"/>
                      </a:lnTo>
                      <a:lnTo>
                        <a:pt x="254584" y="28219"/>
                      </a:lnTo>
                      <a:lnTo>
                        <a:pt x="254584" y="56146"/>
                      </a:lnTo>
                      <a:lnTo>
                        <a:pt x="279349" y="56146"/>
                      </a:lnTo>
                      <a:lnTo>
                        <a:pt x="283641" y="60350"/>
                      </a:lnTo>
                      <a:lnTo>
                        <a:pt x="283641" y="338924"/>
                      </a:lnTo>
                      <a:lnTo>
                        <a:pt x="279006" y="343484"/>
                      </a:lnTo>
                      <a:lnTo>
                        <a:pt x="248602" y="343484"/>
                      </a:lnTo>
                      <a:lnTo>
                        <a:pt x="248602" y="387286"/>
                      </a:lnTo>
                      <a:lnTo>
                        <a:pt x="383908" y="387286"/>
                      </a:lnTo>
                      <a:lnTo>
                        <a:pt x="383908" y="343484"/>
                      </a:lnTo>
                      <a:close/>
                    </a:path>
                    <a:path w="633095" h="387350">
                      <a:moveTo>
                        <a:pt x="599986" y="180149"/>
                      </a:moveTo>
                      <a:lnTo>
                        <a:pt x="383908" y="180149"/>
                      </a:lnTo>
                      <a:lnTo>
                        <a:pt x="383908" y="225640"/>
                      </a:lnTo>
                      <a:lnTo>
                        <a:pt x="560565" y="225640"/>
                      </a:lnTo>
                      <a:lnTo>
                        <a:pt x="569315" y="224358"/>
                      </a:lnTo>
                      <a:lnTo>
                        <a:pt x="577291" y="220726"/>
                      </a:lnTo>
                      <a:lnTo>
                        <a:pt x="583920" y="215074"/>
                      </a:lnTo>
                      <a:lnTo>
                        <a:pt x="588619" y="207721"/>
                      </a:lnTo>
                      <a:lnTo>
                        <a:pt x="599986" y="180149"/>
                      </a:lnTo>
                      <a:close/>
                    </a:path>
                    <a:path w="633095" h="387350">
                      <a:moveTo>
                        <a:pt x="632548" y="100926"/>
                      </a:moveTo>
                      <a:lnTo>
                        <a:pt x="436905" y="100926"/>
                      </a:lnTo>
                      <a:lnTo>
                        <a:pt x="436905" y="88277"/>
                      </a:lnTo>
                      <a:lnTo>
                        <a:pt x="383946" y="88277"/>
                      </a:lnTo>
                      <a:lnTo>
                        <a:pt x="383921" y="146418"/>
                      </a:lnTo>
                      <a:lnTo>
                        <a:pt x="593128" y="146418"/>
                      </a:lnTo>
                      <a:lnTo>
                        <a:pt x="601865" y="145135"/>
                      </a:lnTo>
                      <a:lnTo>
                        <a:pt x="609841" y="141503"/>
                      </a:lnTo>
                      <a:lnTo>
                        <a:pt x="616470" y="135839"/>
                      </a:lnTo>
                      <a:lnTo>
                        <a:pt x="621169" y="128485"/>
                      </a:lnTo>
                      <a:lnTo>
                        <a:pt x="632548" y="100926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83" name="object 77"/>
                <p:cNvPicPr>
                  <a:picLocks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38100" y="7134680"/>
                  <a:ext cx="178633" cy="6731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64" name="组合 63"/>
            <p:cNvGrpSpPr/>
            <p:nvPr userDrawn="1"/>
          </p:nvGrpSpPr>
          <p:grpSpPr>
            <a:xfrm>
              <a:off x="10699719" y="84713"/>
              <a:ext cx="511135" cy="489106"/>
              <a:chOff x="8697913" y="3270250"/>
              <a:chExt cx="5510212" cy="5272723"/>
            </a:xfrm>
            <a:solidFill>
              <a:schemeClr val="bg1"/>
            </a:solidFill>
          </p:grpSpPr>
          <p:sp>
            <p:nvSpPr>
              <p:cNvPr id="65" name="object 2"/>
              <p:cNvSpPr>
                <a:spLocks noChangeArrowheads="1"/>
              </p:cNvSpPr>
              <p:nvPr userDrawn="1"/>
            </p:nvSpPr>
            <p:spPr bwMode="auto">
              <a:xfrm>
                <a:off x="10174288" y="4516438"/>
                <a:ext cx="271462" cy="287337"/>
              </a:xfrm>
              <a:custGeom>
                <a:avLst/>
                <a:gdLst>
                  <a:gd name="T0" fmla="*/ 133074 w 271145"/>
                  <a:gd name="T1" fmla="*/ 0 h 287020"/>
                  <a:gd name="T2" fmla="*/ 80102 w 271145"/>
                  <a:gd name="T3" fmla="*/ 10250 h 287020"/>
                  <a:gd name="T4" fmla="*/ 36616 w 271145"/>
                  <a:gd name="T5" fmla="*/ 40951 h 287020"/>
                  <a:gd name="T6" fmla="*/ 8063 w 271145"/>
                  <a:gd name="T7" fmla="*/ 86638 h 287020"/>
                  <a:gd name="T8" fmla="*/ 0 w 271145"/>
                  <a:gd name="T9" fmla="*/ 141733 h 287020"/>
                  <a:gd name="T10" fmla="*/ 0 w 271145"/>
                  <a:gd name="T11" fmla="*/ 148037 h 287020"/>
                  <a:gd name="T12" fmla="*/ 8398 w 271145"/>
                  <a:gd name="T13" fmla="*/ 200813 h 287020"/>
                  <a:gd name="T14" fmla="*/ 37286 w 271145"/>
                  <a:gd name="T15" fmla="*/ 245688 h 287020"/>
                  <a:gd name="T16" fmla="*/ 81354 w 271145"/>
                  <a:gd name="T17" fmla="*/ 276409 h 287020"/>
                  <a:gd name="T18" fmla="*/ 134917 w 271145"/>
                  <a:gd name="T19" fmla="*/ 286640 h 287020"/>
                  <a:gd name="T20" fmla="*/ 163142 w 271145"/>
                  <a:gd name="T21" fmla="*/ 284083 h 287020"/>
                  <a:gd name="T22" fmla="*/ 211363 w 271145"/>
                  <a:gd name="T23" fmla="*/ 263612 h 287020"/>
                  <a:gd name="T24" fmla="*/ 250011 w 271145"/>
                  <a:gd name="T25" fmla="*/ 224243 h 287020"/>
                  <a:gd name="T26" fmla="*/ 268661 w 271145"/>
                  <a:gd name="T27" fmla="*/ 175407 h 287020"/>
                  <a:gd name="T28" fmla="*/ 270808 w 271145"/>
                  <a:gd name="T29" fmla="*/ 148037 h 287020"/>
                  <a:gd name="T30" fmla="*/ 270808 w 271145"/>
                  <a:gd name="T31" fmla="*/ 141733 h 287020"/>
                  <a:gd name="T32" fmla="*/ 261892 w 271145"/>
                  <a:gd name="T33" fmla="*/ 86638 h 287020"/>
                  <a:gd name="T34" fmla="*/ 232526 w 271145"/>
                  <a:gd name="T35" fmla="*/ 40951 h 287020"/>
                  <a:gd name="T36" fmla="*/ 187512 w 271145"/>
                  <a:gd name="T37" fmla="*/ 10250 h 287020"/>
                  <a:gd name="T38" fmla="*/ 133074 w 271145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1145" h="287020">
                    <a:moveTo>
                      <a:pt x="133074" y="0"/>
                    </a:moveTo>
                    <a:lnTo>
                      <a:pt x="80102" y="10250"/>
                    </a:lnTo>
                    <a:lnTo>
                      <a:pt x="36616" y="40951"/>
                    </a:lnTo>
                    <a:lnTo>
                      <a:pt x="8063" y="86638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8398" y="200813"/>
                    </a:lnTo>
                    <a:lnTo>
                      <a:pt x="37286" y="245688"/>
                    </a:lnTo>
                    <a:lnTo>
                      <a:pt x="81354" y="276409"/>
                    </a:lnTo>
                    <a:lnTo>
                      <a:pt x="134917" y="286640"/>
                    </a:lnTo>
                    <a:lnTo>
                      <a:pt x="163142" y="284083"/>
                    </a:lnTo>
                    <a:lnTo>
                      <a:pt x="211363" y="263612"/>
                    </a:lnTo>
                    <a:lnTo>
                      <a:pt x="250011" y="224243"/>
                    </a:lnTo>
                    <a:lnTo>
                      <a:pt x="268661" y="175407"/>
                    </a:lnTo>
                    <a:lnTo>
                      <a:pt x="270808" y="148037"/>
                    </a:lnTo>
                    <a:lnTo>
                      <a:pt x="270808" y="141733"/>
                    </a:lnTo>
                    <a:lnTo>
                      <a:pt x="261892" y="86638"/>
                    </a:lnTo>
                    <a:lnTo>
                      <a:pt x="232526" y="40951"/>
                    </a:lnTo>
                    <a:lnTo>
                      <a:pt x="187512" y="10250"/>
                    </a:lnTo>
                    <a:lnTo>
                      <a:pt x="13307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6" name="object 3"/>
              <p:cNvSpPr>
                <a:spLocks noChangeArrowheads="1"/>
              </p:cNvSpPr>
              <p:nvPr userDrawn="1"/>
            </p:nvSpPr>
            <p:spPr bwMode="auto">
              <a:xfrm>
                <a:off x="9099550" y="4516438"/>
                <a:ext cx="287338" cy="287337"/>
              </a:xfrm>
              <a:custGeom>
                <a:avLst/>
                <a:gdLst>
                  <a:gd name="T0" fmla="*/ 143231 w 287654"/>
                  <a:gd name="T1" fmla="*/ 0 h 287020"/>
                  <a:gd name="T2" fmla="*/ 87502 w 287654"/>
                  <a:gd name="T3" fmla="*/ 10250 h 287020"/>
                  <a:gd name="T4" fmla="*/ 41339 w 287654"/>
                  <a:gd name="T5" fmla="*/ 40951 h 287020"/>
                  <a:gd name="T6" fmla="*/ 10315 w 287654"/>
                  <a:gd name="T7" fmla="*/ 86634 h 287020"/>
                  <a:gd name="T8" fmla="*/ 0 w 287654"/>
                  <a:gd name="T9" fmla="*/ 141733 h 287020"/>
                  <a:gd name="T10" fmla="*/ 0 w 287654"/>
                  <a:gd name="T11" fmla="*/ 148037 h 287020"/>
                  <a:gd name="T12" fmla="*/ 10315 w 287654"/>
                  <a:gd name="T13" fmla="*/ 200809 h 287020"/>
                  <a:gd name="T14" fmla="*/ 41339 w 287654"/>
                  <a:gd name="T15" fmla="*/ 245688 h 287020"/>
                  <a:gd name="T16" fmla="*/ 87513 w 287654"/>
                  <a:gd name="T17" fmla="*/ 276409 h 287020"/>
                  <a:gd name="T18" fmla="*/ 143252 w 287654"/>
                  <a:gd name="T19" fmla="*/ 286640 h 287020"/>
                  <a:gd name="T20" fmla="*/ 171199 w 287654"/>
                  <a:gd name="T21" fmla="*/ 284083 h 287020"/>
                  <a:gd name="T22" fmla="*/ 221874 w 287654"/>
                  <a:gd name="T23" fmla="*/ 263612 h 287020"/>
                  <a:gd name="T24" fmla="*/ 262293 w 287654"/>
                  <a:gd name="T25" fmla="*/ 224239 h 287020"/>
                  <a:gd name="T26" fmla="*/ 284327 w 287654"/>
                  <a:gd name="T27" fmla="*/ 175406 h 287020"/>
                  <a:gd name="T28" fmla="*/ 287216 w 287654"/>
                  <a:gd name="T29" fmla="*/ 148037 h 287020"/>
                  <a:gd name="T30" fmla="*/ 287216 w 287654"/>
                  <a:gd name="T31" fmla="*/ 141733 h 287020"/>
                  <a:gd name="T32" fmla="*/ 275894 w 287654"/>
                  <a:gd name="T33" fmla="*/ 86634 h 287020"/>
                  <a:gd name="T34" fmla="*/ 243856 w 287654"/>
                  <a:gd name="T35" fmla="*/ 40951 h 287020"/>
                  <a:gd name="T36" fmla="*/ 197513 w 287654"/>
                  <a:gd name="T37" fmla="*/ 10250 h 287020"/>
                  <a:gd name="T38" fmla="*/ 143231 w 287654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7654" h="287020">
                    <a:moveTo>
                      <a:pt x="143231" y="0"/>
                    </a:moveTo>
                    <a:lnTo>
                      <a:pt x="87502" y="10250"/>
                    </a:lnTo>
                    <a:lnTo>
                      <a:pt x="41339" y="40951"/>
                    </a:lnTo>
                    <a:lnTo>
                      <a:pt x="10315" y="86634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10315" y="200809"/>
                    </a:lnTo>
                    <a:lnTo>
                      <a:pt x="41339" y="245688"/>
                    </a:lnTo>
                    <a:lnTo>
                      <a:pt x="87513" y="276409"/>
                    </a:lnTo>
                    <a:lnTo>
                      <a:pt x="143252" y="286640"/>
                    </a:lnTo>
                    <a:lnTo>
                      <a:pt x="171199" y="284083"/>
                    </a:lnTo>
                    <a:lnTo>
                      <a:pt x="221874" y="263612"/>
                    </a:lnTo>
                    <a:lnTo>
                      <a:pt x="262293" y="224239"/>
                    </a:lnTo>
                    <a:lnTo>
                      <a:pt x="284327" y="175406"/>
                    </a:lnTo>
                    <a:lnTo>
                      <a:pt x="287216" y="148037"/>
                    </a:lnTo>
                    <a:lnTo>
                      <a:pt x="287216" y="141733"/>
                    </a:lnTo>
                    <a:lnTo>
                      <a:pt x="275894" y="86634"/>
                    </a:lnTo>
                    <a:lnTo>
                      <a:pt x="243856" y="40951"/>
                    </a:lnTo>
                    <a:lnTo>
                      <a:pt x="197513" y="10250"/>
                    </a:lnTo>
                    <a:lnTo>
                      <a:pt x="1432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7" name="object 4"/>
              <p:cNvSpPr>
                <a:spLocks noChangeArrowheads="1"/>
              </p:cNvSpPr>
              <p:nvPr userDrawn="1"/>
            </p:nvSpPr>
            <p:spPr bwMode="auto">
              <a:xfrm>
                <a:off x="9077325" y="4926013"/>
                <a:ext cx="1887538" cy="1328737"/>
              </a:xfrm>
              <a:custGeom>
                <a:avLst/>
                <a:gdLst>
                  <a:gd name="T0" fmla="*/ 242340 w 1887854"/>
                  <a:gd name="T1" fmla="*/ 1448 h 1329689"/>
                  <a:gd name="T2" fmla="*/ 138409 w 1887854"/>
                  <a:gd name="T3" fmla="*/ 95040 h 1329689"/>
                  <a:gd name="T4" fmla="*/ 158085 w 1887854"/>
                  <a:gd name="T5" fmla="*/ 193460 h 1329689"/>
                  <a:gd name="T6" fmla="*/ 268243 w 1887854"/>
                  <a:gd name="T7" fmla="*/ 254390 h 1329689"/>
                  <a:gd name="T8" fmla="*/ 810027 w 1887854"/>
                  <a:gd name="T9" fmla="*/ 286421 h 1329689"/>
                  <a:gd name="T10" fmla="*/ 809397 w 1887854"/>
                  <a:gd name="T11" fmla="*/ 322637 h 1329689"/>
                  <a:gd name="T12" fmla="*/ 784803 w 1887854"/>
                  <a:gd name="T13" fmla="*/ 336450 h 1329689"/>
                  <a:gd name="T14" fmla="*/ 306126 w 1887854"/>
                  <a:gd name="T15" fmla="*/ 359663 h 1329689"/>
                  <a:gd name="T16" fmla="*/ 246201 w 1887854"/>
                  <a:gd name="T17" fmla="*/ 469064 h 1329689"/>
                  <a:gd name="T18" fmla="*/ 306126 w 1887854"/>
                  <a:gd name="T19" fmla="*/ 577896 h 1329689"/>
                  <a:gd name="T20" fmla="*/ 772206 w 1887854"/>
                  <a:gd name="T21" fmla="*/ 599060 h 1329689"/>
                  <a:gd name="T22" fmla="*/ 810456 w 1887854"/>
                  <a:gd name="T23" fmla="*/ 646598 h 1329689"/>
                  <a:gd name="T24" fmla="*/ 805495 w 1887854"/>
                  <a:gd name="T25" fmla="*/ 683723 h 1329689"/>
                  <a:gd name="T26" fmla="*/ 129137 w 1887854"/>
                  <a:gd name="T27" fmla="*/ 689329 h 1329689"/>
                  <a:gd name="T28" fmla="*/ 21260 w 1887854"/>
                  <a:gd name="T29" fmla="*/ 749646 h 1329689"/>
                  <a:gd name="T30" fmla="*/ 2362 w 1887854"/>
                  <a:gd name="T31" fmla="*/ 850648 h 1329689"/>
                  <a:gd name="T32" fmla="*/ 103336 w 1887854"/>
                  <a:gd name="T33" fmla="*/ 949740 h 1329689"/>
                  <a:gd name="T34" fmla="*/ 779522 w 1887854"/>
                  <a:gd name="T35" fmla="*/ 953076 h 1329689"/>
                  <a:gd name="T36" fmla="*/ 810456 w 1887854"/>
                  <a:gd name="T37" fmla="*/ 1005686 h 1329689"/>
                  <a:gd name="T38" fmla="*/ 524356 w 1887854"/>
                  <a:gd name="T39" fmla="*/ 1045594 h 1329689"/>
                  <a:gd name="T40" fmla="*/ 415687 w 1887854"/>
                  <a:gd name="T41" fmla="*/ 1161054 h 1329689"/>
                  <a:gd name="T42" fmla="*/ 436156 w 1887854"/>
                  <a:gd name="T43" fmla="*/ 1267476 h 1329689"/>
                  <a:gd name="T44" fmla="*/ 551721 w 1887854"/>
                  <a:gd name="T45" fmla="*/ 1329425 h 1329689"/>
                  <a:gd name="T46" fmla="*/ 923395 w 1887854"/>
                  <a:gd name="T47" fmla="*/ 1309289 h 1329689"/>
                  <a:gd name="T48" fmla="*/ 1046496 w 1887854"/>
                  <a:gd name="T49" fmla="*/ 1209310 h 1329689"/>
                  <a:gd name="T50" fmla="*/ 1097673 w 1887854"/>
                  <a:gd name="T51" fmla="*/ 1052931 h 1329689"/>
                  <a:gd name="T52" fmla="*/ 1123262 w 1887854"/>
                  <a:gd name="T53" fmla="*/ 956309 h 1329689"/>
                  <a:gd name="T54" fmla="*/ 1779135 w 1887854"/>
                  <a:gd name="T55" fmla="*/ 949828 h 1329689"/>
                  <a:gd name="T56" fmla="*/ 1884859 w 1887854"/>
                  <a:gd name="T57" fmla="*/ 850983 h 1329689"/>
                  <a:gd name="T58" fmla="*/ 1865158 w 1887854"/>
                  <a:gd name="T59" fmla="*/ 749337 h 1329689"/>
                  <a:gd name="T60" fmla="*/ 1751873 w 1887854"/>
                  <a:gd name="T61" fmla="*/ 689329 h 1329689"/>
                  <a:gd name="T62" fmla="*/ 1100169 w 1887854"/>
                  <a:gd name="T63" fmla="*/ 663191 h 1329689"/>
                  <a:gd name="T64" fmla="*/ 1098985 w 1887854"/>
                  <a:gd name="T65" fmla="*/ 619698 h 1329689"/>
                  <a:gd name="T66" fmla="*/ 1124981 w 1887854"/>
                  <a:gd name="T67" fmla="*/ 599060 h 1329689"/>
                  <a:gd name="T68" fmla="*/ 1603643 w 1887854"/>
                  <a:gd name="T69" fmla="*/ 578382 h 1329689"/>
                  <a:gd name="T70" fmla="*/ 1663603 w 1887854"/>
                  <a:gd name="T71" fmla="*/ 469357 h 1329689"/>
                  <a:gd name="T72" fmla="*/ 1603643 w 1887854"/>
                  <a:gd name="T73" fmla="*/ 359297 h 1329689"/>
                  <a:gd name="T74" fmla="*/ 1137577 w 1887854"/>
                  <a:gd name="T75" fmla="*/ 336450 h 1329689"/>
                  <a:gd name="T76" fmla="*/ 1097673 w 1887854"/>
                  <a:gd name="T77" fmla="*/ 293823 h 1329689"/>
                  <a:gd name="T78" fmla="*/ 1103446 w 1887854"/>
                  <a:gd name="T79" fmla="*/ 259947 h 1329689"/>
                  <a:gd name="T80" fmla="*/ 1641552 w 1887854"/>
                  <a:gd name="T81" fmla="*/ 254390 h 1329689"/>
                  <a:gd name="T82" fmla="*/ 1751692 w 1887854"/>
                  <a:gd name="T83" fmla="*/ 191953 h 1329689"/>
                  <a:gd name="T84" fmla="*/ 1771379 w 1887854"/>
                  <a:gd name="T85" fmla="*/ 93647 h 1329689"/>
                  <a:gd name="T86" fmla="*/ 1667429 w 1887854"/>
                  <a:gd name="T87" fmla="*/ 1538 h 1329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87854" h="1329689">
                    <a:moveTo>
                      <a:pt x="1641552" y="0"/>
                    </a:moveTo>
                    <a:lnTo>
                      <a:pt x="268243" y="0"/>
                    </a:lnTo>
                    <a:lnTo>
                      <a:pt x="242340" y="1448"/>
                    </a:lnTo>
                    <a:lnTo>
                      <a:pt x="195884" y="16326"/>
                    </a:lnTo>
                    <a:lnTo>
                      <a:pt x="158085" y="51373"/>
                    </a:lnTo>
                    <a:lnTo>
                      <a:pt x="138409" y="95040"/>
                    </a:lnTo>
                    <a:lnTo>
                      <a:pt x="135953" y="120362"/>
                    </a:lnTo>
                    <a:lnTo>
                      <a:pt x="138409" y="146405"/>
                    </a:lnTo>
                    <a:lnTo>
                      <a:pt x="158085" y="193460"/>
                    </a:lnTo>
                    <a:lnTo>
                      <a:pt x="195884" y="231525"/>
                    </a:lnTo>
                    <a:lnTo>
                      <a:pt x="242340" y="251797"/>
                    </a:lnTo>
                    <a:lnTo>
                      <a:pt x="268243" y="254390"/>
                    </a:lnTo>
                    <a:lnTo>
                      <a:pt x="772206" y="254390"/>
                    </a:lnTo>
                    <a:lnTo>
                      <a:pt x="779522" y="254912"/>
                    </a:lnTo>
                    <a:lnTo>
                      <a:pt x="810027" y="286421"/>
                    </a:lnTo>
                    <a:lnTo>
                      <a:pt x="810456" y="293823"/>
                    </a:lnTo>
                    <a:lnTo>
                      <a:pt x="810456" y="309571"/>
                    </a:lnTo>
                    <a:lnTo>
                      <a:pt x="809397" y="322637"/>
                    </a:lnTo>
                    <a:lnTo>
                      <a:pt x="805495" y="330891"/>
                    </a:lnTo>
                    <a:lnTo>
                      <a:pt x="797659" y="335205"/>
                    </a:lnTo>
                    <a:lnTo>
                      <a:pt x="784803" y="336450"/>
                    </a:lnTo>
                    <a:lnTo>
                      <a:pt x="378491" y="336450"/>
                    </a:lnTo>
                    <a:lnTo>
                      <a:pt x="352584" y="339174"/>
                    </a:lnTo>
                    <a:lnTo>
                      <a:pt x="306126" y="359663"/>
                    </a:lnTo>
                    <a:lnTo>
                      <a:pt x="268324" y="396629"/>
                    </a:lnTo>
                    <a:lnTo>
                      <a:pt x="248656" y="443103"/>
                    </a:lnTo>
                    <a:lnTo>
                      <a:pt x="246201" y="469064"/>
                    </a:lnTo>
                    <a:lnTo>
                      <a:pt x="248656" y="494786"/>
                    </a:lnTo>
                    <a:lnTo>
                      <a:pt x="268324" y="540455"/>
                    </a:lnTo>
                    <a:lnTo>
                      <a:pt x="306126" y="577896"/>
                    </a:lnTo>
                    <a:lnTo>
                      <a:pt x="352584" y="596783"/>
                    </a:lnTo>
                    <a:lnTo>
                      <a:pt x="378491" y="599060"/>
                    </a:lnTo>
                    <a:lnTo>
                      <a:pt x="772206" y="599060"/>
                    </a:lnTo>
                    <a:lnTo>
                      <a:pt x="779522" y="600215"/>
                    </a:lnTo>
                    <a:lnTo>
                      <a:pt x="808374" y="630391"/>
                    </a:lnTo>
                    <a:lnTo>
                      <a:pt x="810456" y="646598"/>
                    </a:lnTo>
                    <a:lnTo>
                      <a:pt x="810456" y="662356"/>
                    </a:lnTo>
                    <a:lnTo>
                      <a:pt x="809397" y="675437"/>
                    </a:lnTo>
                    <a:lnTo>
                      <a:pt x="805495" y="683723"/>
                    </a:lnTo>
                    <a:lnTo>
                      <a:pt x="797659" y="688070"/>
                    </a:lnTo>
                    <a:lnTo>
                      <a:pt x="784803" y="689329"/>
                    </a:lnTo>
                    <a:lnTo>
                      <a:pt x="129137" y="689329"/>
                    </a:lnTo>
                    <a:lnTo>
                      <a:pt x="103336" y="692045"/>
                    </a:lnTo>
                    <a:lnTo>
                      <a:pt x="57675" y="712499"/>
                    </a:lnTo>
                    <a:lnTo>
                      <a:pt x="21260" y="749646"/>
                    </a:lnTo>
                    <a:lnTo>
                      <a:pt x="2362" y="797675"/>
                    </a:lnTo>
                    <a:lnTo>
                      <a:pt x="0" y="825021"/>
                    </a:lnTo>
                    <a:lnTo>
                      <a:pt x="2362" y="850648"/>
                    </a:lnTo>
                    <a:lnTo>
                      <a:pt x="21260" y="895542"/>
                    </a:lnTo>
                    <a:lnTo>
                      <a:pt x="57675" y="931609"/>
                    </a:lnTo>
                    <a:lnTo>
                      <a:pt x="103336" y="949740"/>
                    </a:lnTo>
                    <a:lnTo>
                      <a:pt x="129137" y="951929"/>
                    </a:lnTo>
                    <a:lnTo>
                      <a:pt x="772206" y="951929"/>
                    </a:lnTo>
                    <a:lnTo>
                      <a:pt x="779522" y="953076"/>
                    </a:lnTo>
                    <a:lnTo>
                      <a:pt x="808374" y="983976"/>
                    </a:lnTo>
                    <a:lnTo>
                      <a:pt x="810456" y="1002534"/>
                    </a:lnTo>
                    <a:lnTo>
                      <a:pt x="810456" y="1005686"/>
                    </a:lnTo>
                    <a:lnTo>
                      <a:pt x="786096" y="1041341"/>
                    </a:lnTo>
                    <a:lnTo>
                      <a:pt x="551721" y="1042198"/>
                    </a:lnTo>
                    <a:lnTo>
                      <a:pt x="524356" y="1045594"/>
                    </a:lnTo>
                    <a:lnTo>
                      <a:pt x="475521" y="1069758"/>
                    </a:lnTo>
                    <a:lnTo>
                      <a:pt x="436156" y="1110379"/>
                    </a:lnTo>
                    <a:lnTo>
                      <a:pt x="415687" y="1161054"/>
                    </a:lnTo>
                    <a:lnTo>
                      <a:pt x="413128" y="1188843"/>
                    </a:lnTo>
                    <a:lnTo>
                      <a:pt x="415687" y="1217473"/>
                    </a:lnTo>
                    <a:lnTo>
                      <a:pt x="436156" y="1267476"/>
                    </a:lnTo>
                    <a:lnTo>
                      <a:pt x="475521" y="1306861"/>
                    </a:lnTo>
                    <a:lnTo>
                      <a:pt x="524356" y="1326951"/>
                    </a:lnTo>
                    <a:lnTo>
                      <a:pt x="551721" y="1329425"/>
                    </a:lnTo>
                    <a:lnTo>
                      <a:pt x="816310" y="1329425"/>
                    </a:lnTo>
                    <a:lnTo>
                      <a:pt x="871423" y="1324858"/>
                    </a:lnTo>
                    <a:lnTo>
                      <a:pt x="923395" y="1309289"/>
                    </a:lnTo>
                    <a:lnTo>
                      <a:pt x="970632" y="1283785"/>
                    </a:lnTo>
                    <a:lnTo>
                      <a:pt x="1011602" y="1250412"/>
                    </a:lnTo>
                    <a:lnTo>
                      <a:pt x="1046496" y="1209310"/>
                    </a:lnTo>
                    <a:lnTo>
                      <a:pt x="1073537" y="1161116"/>
                    </a:lnTo>
                    <a:lnTo>
                      <a:pt x="1091106" y="1108205"/>
                    </a:lnTo>
                    <a:lnTo>
                      <a:pt x="1097673" y="1052931"/>
                    </a:lnTo>
                    <a:lnTo>
                      <a:pt x="1097673" y="1002534"/>
                    </a:lnTo>
                    <a:lnTo>
                      <a:pt x="1098231" y="993115"/>
                    </a:lnTo>
                    <a:lnTo>
                      <a:pt x="1123262" y="956309"/>
                    </a:lnTo>
                    <a:lnTo>
                      <a:pt x="1137577" y="951929"/>
                    </a:lnTo>
                    <a:lnTo>
                      <a:pt x="1751873" y="951929"/>
                    </a:lnTo>
                    <a:lnTo>
                      <a:pt x="1779135" y="949828"/>
                    </a:lnTo>
                    <a:lnTo>
                      <a:pt x="1827156" y="932081"/>
                    </a:lnTo>
                    <a:lnTo>
                      <a:pt x="1865158" y="896061"/>
                    </a:lnTo>
                    <a:lnTo>
                      <a:pt x="1884859" y="850983"/>
                    </a:lnTo>
                    <a:lnTo>
                      <a:pt x="1887324" y="825315"/>
                    </a:lnTo>
                    <a:lnTo>
                      <a:pt x="1884859" y="797853"/>
                    </a:lnTo>
                    <a:lnTo>
                      <a:pt x="1865158" y="749337"/>
                    </a:lnTo>
                    <a:lnTo>
                      <a:pt x="1827156" y="712145"/>
                    </a:lnTo>
                    <a:lnTo>
                      <a:pt x="1779135" y="691979"/>
                    </a:lnTo>
                    <a:lnTo>
                      <a:pt x="1751873" y="689329"/>
                    </a:lnTo>
                    <a:lnTo>
                      <a:pt x="1137577" y="689329"/>
                    </a:lnTo>
                    <a:lnTo>
                      <a:pt x="1130119" y="688797"/>
                    </a:lnTo>
                    <a:lnTo>
                      <a:pt x="1100169" y="663191"/>
                    </a:lnTo>
                    <a:lnTo>
                      <a:pt x="1097673" y="646598"/>
                    </a:lnTo>
                    <a:lnTo>
                      <a:pt x="1097673" y="634001"/>
                    </a:lnTo>
                    <a:lnTo>
                      <a:pt x="1098985" y="619698"/>
                    </a:lnTo>
                    <a:lnTo>
                      <a:pt x="1103446" y="608669"/>
                    </a:lnTo>
                    <a:lnTo>
                      <a:pt x="1111848" y="601571"/>
                    </a:lnTo>
                    <a:lnTo>
                      <a:pt x="1124981" y="599060"/>
                    </a:lnTo>
                    <a:lnTo>
                      <a:pt x="1531304" y="599060"/>
                    </a:lnTo>
                    <a:lnTo>
                      <a:pt x="1557182" y="596873"/>
                    </a:lnTo>
                    <a:lnTo>
                      <a:pt x="1603643" y="578382"/>
                    </a:lnTo>
                    <a:lnTo>
                      <a:pt x="1641450" y="540987"/>
                    </a:lnTo>
                    <a:lnTo>
                      <a:pt x="1661140" y="495123"/>
                    </a:lnTo>
                    <a:lnTo>
                      <a:pt x="1663603" y="469357"/>
                    </a:lnTo>
                    <a:lnTo>
                      <a:pt x="1661140" y="443279"/>
                    </a:lnTo>
                    <a:lnTo>
                      <a:pt x="1641450" y="396306"/>
                    </a:lnTo>
                    <a:lnTo>
                      <a:pt x="1603643" y="359297"/>
                    </a:lnTo>
                    <a:lnTo>
                      <a:pt x="1557182" y="339106"/>
                    </a:lnTo>
                    <a:lnTo>
                      <a:pt x="1531304" y="336450"/>
                    </a:lnTo>
                    <a:lnTo>
                      <a:pt x="1137577" y="336450"/>
                    </a:lnTo>
                    <a:lnTo>
                      <a:pt x="1130119" y="335926"/>
                    </a:lnTo>
                    <a:lnTo>
                      <a:pt x="1100169" y="310392"/>
                    </a:lnTo>
                    <a:lnTo>
                      <a:pt x="1097673" y="293823"/>
                    </a:lnTo>
                    <a:lnTo>
                      <a:pt x="1097673" y="281227"/>
                    </a:lnTo>
                    <a:lnTo>
                      <a:pt x="1098985" y="268190"/>
                    </a:lnTo>
                    <a:lnTo>
                      <a:pt x="1103446" y="259947"/>
                    </a:lnTo>
                    <a:lnTo>
                      <a:pt x="1111848" y="255635"/>
                    </a:lnTo>
                    <a:lnTo>
                      <a:pt x="1124981" y="254390"/>
                    </a:lnTo>
                    <a:lnTo>
                      <a:pt x="1641552" y="254390"/>
                    </a:lnTo>
                    <a:lnTo>
                      <a:pt x="1667429" y="251569"/>
                    </a:lnTo>
                    <a:lnTo>
                      <a:pt x="1713882" y="230293"/>
                    </a:lnTo>
                    <a:lnTo>
                      <a:pt x="1751692" y="191953"/>
                    </a:lnTo>
                    <a:lnTo>
                      <a:pt x="1771379" y="144693"/>
                    </a:lnTo>
                    <a:lnTo>
                      <a:pt x="1773841" y="118603"/>
                    </a:lnTo>
                    <a:lnTo>
                      <a:pt x="1771379" y="93647"/>
                    </a:lnTo>
                    <a:lnTo>
                      <a:pt x="1751692" y="51588"/>
                    </a:lnTo>
                    <a:lnTo>
                      <a:pt x="1713882" y="16812"/>
                    </a:lnTo>
                    <a:lnTo>
                      <a:pt x="1667429" y="1538"/>
                    </a:lnTo>
                    <a:lnTo>
                      <a:pt x="16415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8" name="object 5"/>
              <p:cNvSpPr>
                <a:spLocks noChangeArrowheads="1"/>
              </p:cNvSpPr>
              <p:nvPr userDrawn="1"/>
            </p:nvSpPr>
            <p:spPr bwMode="auto">
              <a:xfrm>
                <a:off x="9083675" y="3970338"/>
                <a:ext cx="998538" cy="890587"/>
              </a:xfrm>
              <a:custGeom>
                <a:avLst/>
                <a:gdLst>
                  <a:gd name="T0" fmla="*/ 450405 w 998854"/>
                  <a:gd name="T1" fmla="*/ 8084 h 890904"/>
                  <a:gd name="T2" fmla="*/ 374033 w 998854"/>
                  <a:gd name="T3" fmla="*/ 70806 h 890904"/>
                  <a:gd name="T4" fmla="*/ 347642 w 998854"/>
                  <a:gd name="T5" fmla="*/ 159526 h 890904"/>
                  <a:gd name="T6" fmla="*/ 277862 w 998854"/>
                  <a:gd name="T7" fmla="*/ 222912 h 890904"/>
                  <a:gd name="T8" fmla="*/ 141754 w 998854"/>
                  <a:gd name="T9" fmla="*/ 225511 h 890904"/>
                  <a:gd name="T10" fmla="*/ 62594 w 998854"/>
                  <a:gd name="T11" fmla="*/ 242575 h 890904"/>
                  <a:gd name="T12" fmla="*/ 2558 w 998854"/>
                  <a:gd name="T13" fmla="*/ 325110 h 890904"/>
                  <a:gd name="T14" fmla="*/ 2558 w 998854"/>
                  <a:gd name="T15" fmla="*/ 380222 h 890904"/>
                  <a:gd name="T16" fmla="*/ 62594 w 998854"/>
                  <a:gd name="T17" fmla="*/ 467421 h 890904"/>
                  <a:gd name="T18" fmla="*/ 141754 w 998854"/>
                  <a:gd name="T19" fmla="*/ 488121 h 890904"/>
                  <a:gd name="T20" fmla="*/ 279459 w 998854"/>
                  <a:gd name="T21" fmla="*/ 490188 h 890904"/>
                  <a:gd name="T22" fmla="*/ 343964 w 998854"/>
                  <a:gd name="T23" fmla="*/ 535349 h 890904"/>
                  <a:gd name="T24" fmla="*/ 360512 w 998854"/>
                  <a:gd name="T25" fmla="*/ 594557 h 890904"/>
                  <a:gd name="T26" fmla="*/ 362958 w 998854"/>
                  <a:gd name="T27" fmla="*/ 779419 h 890904"/>
                  <a:gd name="T28" fmla="*/ 422324 w 998854"/>
                  <a:gd name="T29" fmla="*/ 867615 h 890904"/>
                  <a:gd name="T30" fmla="*/ 501178 w 998854"/>
                  <a:gd name="T31" fmla="*/ 890643 h 890904"/>
                  <a:gd name="T32" fmla="*/ 575418 w 998854"/>
                  <a:gd name="T33" fmla="*/ 867615 h 890904"/>
                  <a:gd name="T34" fmla="*/ 629664 w 998854"/>
                  <a:gd name="T35" fmla="*/ 779419 h 890904"/>
                  <a:gd name="T36" fmla="*/ 631321 w 998854"/>
                  <a:gd name="T37" fmla="*/ 594557 h 890904"/>
                  <a:gd name="T38" fmla="*/ 652012 w 998854"/>
                  <a:gd name="T39" fmla="*/ 535349 h 890904"/>
                  <a:gd name="T40" fmla="*/ 721407 w 998854"/>
                  <a:gd name="T41" fmla="*/ 490188 h 890904"/>
                  <a:gd name="T42" fmla="*/ 859910 w 998854"/>
                  <a:gd name="T43" fmla="*/ 488121 h 890904"/>
                  <a:gd name="T44" fmla="*/ 938137 w 998854"/>
                  <a:gd name="T45" fmla="*/ 466144 h 890904"/>
                  <a:gd name="T46" fmla="*/ 996030 w 998854"/>
                  <a:gd name="T47" fmla="*/ 379457 h 890904"/>
                  <a:gd name="T48" fmla="*/ 996030 w 998854"/>
                  <a:gd name="T49" fmla="*/ 324584 h 890904"/>
                  <a:gd name="T50" fmla="*/ 938137 w 998854"/>
                  <a:gd name="T51" fmla="*/ 242575 h 890904"/>
                  <a:gd name="T52" fmla="*/ 859910 w 998854"/>
                  <a:gd name="T53" fmla="*/ 225511 h 890904"/>
                  <a:gd name="T54" fmla="*/ 721897 w 998854"/>
                  <a:gd name="T55" fmla="*/ 222897 h 890904"/>
                  <a:gd name="T56" fmla="*/ 651219 w 998854"/>
                  <a:gd name="T57" fmla="*/ 160896 h 890904"/>
                  <a:gd name="T58" fmla="*/ 634188 w 998854"/>
                  <a:gd name="T59" fmla="*/ 96240 h 890904"/>
                  <a:gd name="T60" fmla="*/ 593741 w 998854"/>
                  <a:gd name="T61" fmla="*/ 33831 h 890904"/>
                  <a:gd name="T62" fmla="*/ 526699 w 998854"/>
                  <a:gd name="T63" fmla="*/ 2186 h 890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98854" h="890904">
                    <a:moveTo>
                      <a:pt x="500822" y="0"/>
                    </a:moveTo>
                    <a:lnTo>
                      <a:pt x="450405" y="8084"/>
                    </a:lnTo>
                    <a:lnTo>
                      <a:pt x="406333" y="32700"/>
                    </a:lnTo>
                    <a:lnTo>
                      <a:pt x="374033" y="70806"/>
                    </a:lnTo>
                    <a:lnTo>
                      <a:pt x="354637" y="139661"/>
                    </a:lnTo>
                    <a:lnTo>
                      <a:pt x="347642" y="159526"/>
                    </a:lnTo>
                    <a:lnTo>
                      <a:pt x="326011" y="192800"/>
                    </a:lnTo>
                    <a:lnTo>
                      <a:pt x="277862" y="222912"/>
                    </a:lnTo>
                    <a:lnTo>
                      <a:pt x="258285" y="225511"/>
                    </a:lnTo>
                    <a:lnTo>
                      <a:pt x="141754" y="225511"/>
                    </a:lnTo>
                    <a:lnTo>
                      <a:pt x="112996" y="227032"/>
                    </a:lnTo>
                    <a:lnTo>
                      <a:pt x="62594" y="242575"/>
                    </a:lnTo>
                    <a:lnTo>
                      <a:pt x="23032" y="279161"/>
                    </a:lnTo>
                    <a:lnTo>
                      <a:pt x="2558" y="325110"/>
                    </a:lnTo>
                    <a:lnTo>
                      <a:pt x="0" y="351905"/>
                    </a:lnTo>
                    <a:lnTo>
                      <a:pt x="2558" y="380222"/>
                    </a:lnTo>
                    <a:lnTo>
                      <a:pt x="23032" y="428725"/>
                    </a:lnTo>
                    <a:lnTo>
                      <a:pt x="62594" y="467421"/>
                    </a:lnTo>
                    <a:lnTo>
                      <a:pt x="112996" y="485994"/>
                    </a:lnTo>
                    <a:lnTo>
                      <a:pt x="141754" y="488121"/>
                    </a:lnTo>
                    <a:lnTo>
                      <a:pt x="258285" y="488121"/>
                    </a:lnTo>
                    <a:lnTo>
                      <a:pt x="279459" y="490188"/>
                    </a:lnTo>
                    <a:lnTo>
                      <a:pt x="316178" y="506011"/>
                    </a:lnTo>
                    <a:lnTo>
                      <a:pt x="343964" y="535349"/>
                    </a:lnTo>
                    <a:lnTo>
                      <a:pt x="358630" y="573211"/>
                    </a:lnTo>
                    <a:lnTo>
                      <a:pt x="360512" y="594557"/>
                    </a:lnTo>
                    <a:lnTo>
                      <a:pt x="360512" y="752050"/>
                    </a:lnTo>
                    <a:lnTo>
                      <a:pt x="362958" y="779419"/>
                    </a:lnTo>
                    <a:lnTo>
                      <a:pt x="382935" y="828247"/>
                    </a:lnTo>
                    <a:lnTo>
                      <a:pt x="422324" y="867615"/>
                    </a:lnTo>
                    <a:lnTo>
                      <a:pt x="472480" y="888086"/>
                    </a:lnTo>
                    <a:lnTo>
                      <a:pt x="501178" y="890643"/>
                    </a:lnTo>
                    <a:lnTo>
                      <a:pt x="529002" y="888086"/>
                    </a:lnTo>
                    <a:lnTo>
                      <a:pt x="575418" y="867615"/>
                    </a:lnTo>
                    <a:lnTo>
                      <a:pt x="613174" y="828247"/>
                    </a:lnTo>
                    <a:lnTo>
                      <a:pt x="629664" y="779419"/>
                    </a:lnTo>
                    <a:lnTo>
                      <a:pt x="631321" y="752050"/>
                    </a:lnTo>
                    <a:lnTo>
                      <a:pt x="631321" y="594557"/>
                    </a:lnTo>
                    <a:lnTo>
                      <a:pt x="633972" y="573211"/>
                    </a:lnTo>
                    <a:lnTo>
                      <a:pt x="652012" y="535349"/>
                    </a:lnTo>
                    <a:lnTo>
                      <a:pt x="681327" y="506011"/>
                    </a:lnTo>
                    <a:lnTo>
                      <a:pt x="721407" y="490188"/>
                    </a:lnTo>
                    <a:lnTo>
                      <a:pt x="743359" y="488121"/>
                    </a:lnTo>
                    <a:lnTo>
                      <a:pt x="859910" y="488121"/>
                    </a:lnTo>
                    <a:lnTo>
                      <a:pt x="888529" y="485758"/>
                    </a:lnTo>
                    <a:lnTo>
                      <a:pt x="938137" y="466144"/>
                    </a:lnTo>
                    <a:lnTo>
                      <a:pt x="976339" y="427350"/>
                    </a:lnTo>
                    <a:lnTo>
                      <a:pt x="996030" y="379457"/>
                    </a:lnTo>
                    <a:lnTo>
                      <a:pt x="998493" y="351277"/>
                    </a:lnTo>
                    <a:lnTo>
                      <a:pt x="996030" y="324584"/>
                    </a:lnTo>
                    <a:lnTo>
                      <a:pt x="976339" y="279064"/>
                    </a:lnTo>
                    <a:lnTo>
                      <a:pt x="938137" y="242575"/>
                    </a:lnTo>
                    <a:lnTo>
                      <a:pt x="888529" y="227032"/>
                    </a:lnTo>
                    <a:lnTo>
                      <a:pt x="859910" y="225511"/>
                    </a:lnTo>
                    <a:lnTo>
                      <a:pt x="740207" y="225511"/>
                    </a:lnTo>
                    <a:lnTo>
                      <a:pt x="721897" y="222897"/>
                    </a:lnTo>
                    <a:lnTo>
                      <a:pt x="674063" y="192706"/>
                    </a:lnTo>
                    <a:lnTo>
                      <a:pt x="651219" y="160896"/>
                    </a:lnTo>
                    <a:lnTo>
                      <a:pt x="639425" y="121964"/>
                    </a:lnTo>
                    <a:lnTo>
                      <a:pt x="634188" y="96240"/>
                    </a:lnTo>
                    <a:lnTo>
                      <a:pt x="624833" y="72785"/>
                    </a:lnTo>
                    <a:lnTo>
                      <a:pt x="593741" y="33831"/>
                    </a:lnTo>
                    <a:lnTo>
                      <a:pt x="550807" y="8650"/>
                    </a:lnTo>
                    <a:lnTo>
                      <a:pt x="526699" y="2186"/>
                    </a:lnTo>
                    <a:lnTo>
                      <a:pt x="50082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9" name="object 6"/>
              <p:cNvSpPr>
                <a:spLocks noChangeArrowheads="1"/>
              </p:cNvSpPr>
              <p:nvPr userDrawn="1"/>
            </p:nvSpPr>
            <p:spPr bwMode="auto">
              <a:xfrm>
                <a:off x="8713788" y="3270250"/>
                <a:ext cx="2439987" cy="2995613"/>
              </a:xfrm>
              <a:custGeom>
                <a:avLst/>
                <a:gdLst>
                  <a:gd name="T0" fmla="*/ 1306690 w 2439670"/>
                  <a:gd name="T1" fmla="*/ 42519 h 2995929"/>
                  <a:gd name="T2" fmla="*/ 1174064 w 2439670"/>
                  <a:gd name="T3" fmla="*/ 2667 h 2995929"/>
                  <a:gd name="T4" fmla="*/ 1061224 w 2439670"/>
                  <a:gd name="T5" fmla="*/ 117830 h 2995929"/>
                  <a:gd name="T6" fmla="*/ 1069505 w 2439670"/>
                  <a:gd name="T7" fmla="*/ 209080 h 2995929"/>
                  <a:gd name="T8" fmla="*/ 1204556 w 2439670"/>
                  <a:gd name="T9" fmla="*/ 299237 h 2995929"/>
                  <a:gd name="T10" fmla="*/ 1324762 w 2439670"/>
                  <a:gd name="T11" fmla="*/ 234175 h 2995929"/>
                  <a:gd name="T12" fmla="*/ 1345831 w 2439670"/>
                  <a:gd name="T13" fmla="*/ 148043 h 2995929"/>
                  <a:gd name="T14" fmla="*/ 1318056 w 2439670"/>
                  <a:gd name="T15" fmla="*/ 1288275 h 2995929"/>
                  <a:gd name="T16" fmla="*/ 1186611 w 2439670"/>
                  <a:gd name="T17" fmla="*/ 1249883 h 2995929"/>
                  <a:gd name="T18" fmla="*/ 1077620 w 2439670"/>
                  <a:gd name="T19" fmla="*/ 1360335 h 2995929"/>
                  <a:gd name="T20" fmla="*/ 1085354 w 2439670"/>
                  <a:gd name="T21" fmla="*/ 1448130 h 2995929"/>
                  <a:gd name="T22" fmla="*/ 1213916 w 2439670"/>
                  <a:gd name="T23" fmla="*/ 1533956 h 2995929"/>
                  <a:gd name="T24" fmla="*/ 1336421 w 2439670"/>
                  <a:gd name="T25" fmla="*/ 1471561 h 2995929"/>
                  <a:gd name="T26" fmla="*/ 1362252 w 2439670"/>
                  <a:gd name="T27" fmla="*/ 1389062 h 2995929"/>
                  <a:gd name="T28" fmla="*/ 2248712 w 2439670"/>
                  <a:gd name="T29" fmla="*/ 391464 h 2995929"/>
                  <a:gd name="T30" fmla="*/ 335203 w 2439670"/>
                  <a:gd name="T31" fmla="*/ 342874 h 2995929"/>
                  <a:gd name="T32" fmla="*/ 137947 w 2439670"/>
                  <a:gd name="T33" fmla="*/ 410489 h 2995929"/>
                  <a:gd name="T34" fmla="*/ 19570 w 2439670"/>
                  <a:gd name="T35" fmla="*/ 567309 h 2995929"/>
                  <a:gd name="T36" fmla="*/ 0 w 2439670"/>
                  <a:gd name="T37" fmla="*/ 2850565 h 2995929"/>
                  <a:gd name="T38" fmla="*/ 83870 w 2439670"/>
                  <a:gd name="T39" fmla="*/ 2985478 h 2995929"/>
                  <a:gd name="T40" fmla="*/ 218998 w 2439670"/>
                  <a:gd name="T41" fmla="*/ 2972435 h 2995929"/>
                  <a:gd name="T42" fmla="*/ 287223 w 2439670"/>
                  <a:gd name="T43" fmla="*/ 775119 h 2995929"/>
                  <a:gd name="T44" fmla="*/ 347002 w 2439670"/>
                  <a:gd name="T45" fmla="*/ 674839 h 2995929"/>
                  <a:gd name="T46" fmla="*/ 2146338 w 2439670"/>
                  <a:gd name="T47" fmla="*/ 654710 h 2995929"/>
                  <a:gd name="T48" fmla="*/ 2267318 w 2439670"/>
                  <a:gd name="T49" fmla="*/ 585000 h 2995929"/>
                  <a:gd name="T50" fmla="*/ 2412669 w 2439670"/>
                  <a:gd name="T51" fmla="*/ 1389062 h 2995929"/>
                  <a:gd name="T52" fmla="*/ 2334171 w 2439670"/>
                  <a:gd name="T53" fmla="*/ 1257579 h 2995929"/>
                  <a:gd name="T54" fmla="*/ 2208479 w 2439670"/>
                  <a:gd name="T55" fmla="*/ 1270368 h 2995929"/>
                  <a:gd name="T56" fmla="*/ 2150059 w 2439670"/>
                  <a:gd name="T57" fmla="*/ 1389062 h 2995929"/>
                  <a:gd name="T58" fmla="*/ 2187575 w 2439670"/>
                  <a:gd name="T59" fmla="*/ 1493012 h 2995929"/>
                  <a:gd name="T60" fmla="*/ 2311247 w 2439670"/>
                  <a:gd name="T61" fmla="*/ 1531404 h 2995929"/>
                  <a:gd name="T62" fmla="*/ 2411095 w 2439670"/>
                  <a:gd name="T63" fmla="*/ 1422730 h 2995929"/>
                  <a:gd name="T64" fmla="*/ 2439276 w 2439670"/>
                  <a:gd name="T65" fmla="*/ 1048258 h 2995929"/>
                  <a:gd name="T66" fmla="*/ 2352649 w 2439670"/>
                  <a:gd name="T67" fmla="*/ 932192 h 2995929"/>
                  <a:gd name="T68" fmla="*/ 2161400 w 2439670"/>
                  <a:gd name="T69" fmla="*/ 922909 h 2995929"/>
                  <a:gd name="T70" fmla="*/ 2080209 w 2439670"/>
                  <a:gd name="T71" fmla="*/ 821969 h 2995929"/>
                  <a:gd name="T72" fmla="*/ 2032952 w 2439670"/>
                  <a:gd name="T73" fmla="*/ 733844 h 2995929"/>
                  <a:gd name="T74" fmla="*/ 1912543 w 2439670"/>
                  <a:gd name="T75" fmla="*/ 702017 h 2995929"/>
                  <a:gd name="T76" fmla="*/ 1805076 w 2439670"/>
                  <a:gd name="T77" fmla="*/ 793673 h 2995929"/>
                  <a:gd name="T78" fmla="*/ 1766785 w 2439670"/>
                  <a:gd name="T79" fmla="*/ 892810 h 2995929"/>
                  <a:gd name="T80" fmla="*/ 1579384 w 2439670"/>
                  <a:gd name="T81" fmla="*/ 925525 h 2995929"/>
                  <a:gd name="T82" fmla="*/ 1462925 w 2439670"/>
                  <a:gd name="T83" fmla="*/ 979170 h 2995929"/>
                  <a:gd name="T84" fmla="*/ 1443240 w 2439670"/>
                  <a:gd name="T85" fmla="*/ 1080223 h 2995929"/>
                  <a:gd name="T86" fmla="*/ 1550720 w 2439670"/>
                  <a:gd name="T87" fmla="*/ 1186002 h 2995929"/>
                  <a:gd name="T88" fmla="*/ 1716227 w 2439670"/>
                  <a:gd name="T89" fmla="*/ 1190193 h 2995929"/>
                  <a:gd name="T90" fmla="*/ 1788985 w 2439670"/>
                  <a:gd name="T91" fmla="*/ 1294574 h 2995929"/>
                  <a:gd name="T92" fmla="*/ 1815706 w 2439670"/>
                  <a:gd name="T93" fmla="*/ 1528254 h 2995929"/>
                  <a:gd name="T94" fmla="*/ 1935734 w 2439670"/>
                  <a:gd name="T95" fmla="*/ 1590649 h 2995929"/>
                  <a:gd name="T96" fmla="*/ 2067928 w 2439670"/>
                  <a:gd name="T97" fmla="*/ 1528254 h 2995929"/>
                  <a:gd name="T98" fmla="*/ 2100821 w 2439670"/>
                  <a:gd name="T99" fmla="*/ 1294574 h 2995929"/>
                  <a:gd name="T100" fmla="*/ 2134654 w 2439670"/>
                  <a:gd name="T101" fmla="*/ 1206017 h 2995929"/>
                  <a:gd name="T102" fmla="*/ 2326271 w 2439670"/>
                  <a:gd name="T103" fmla="*/ 1185773 h 2995929"/>
                  <a:gd name="T104" fmla="*/ 2436711 w 2439670"/>
                  <a:gd name="T105" fmla="*/ 1076921 h 2995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39670" h="2995929">
                    <a:moveTo>
                      <a:pt x="1345831" y="148043"/>
                    </a:moveTo>
                    <a:lnTo>
                      <a:pt x="1336890" y="90170"/>
                    </a:lnTo>
                    <a:lnTo>
                      <a:pt x="1306690" y="42519"/>
                    </a:lnTo>
                    <a:lnTo>
                      <a:pt x="1259890" y="10629"/>
                    </a:lnTo>
                    <a:lnTo>
                      <a:pt x="1202880" y="0"/>
                    </a:lnTo>
                    <a:lnTo>
                      <a:pt x="1174064" y="2667"/>
                    </a:lnTo>
                    <a:lnTo>
                      <a:pt x="1123111" y="23914"/>
                    </a:lnTo>
                    <a:lnTo>
                      <a:pt x="1082268" y="65062"/>
                    </a:lnTo>
                    <a:lnTo>
                      <a:pt x="1061224" y="117830"/>
                    </a:lnTo>
                    <a:lnTo>
                      <a:pt x="1058621" y="148043"/>
                    </a:lnTo>
                    <a:lnTo>
                      <a:pt x="1058621" y="151193"/>
                    </a:lnTo>
                    <a:lnTo>
                      <a:pt x="1069505" y="209080"/>
                    </a:lnTo>
                    <a:lnTo>
                      <a:pt x="1101661" y="256705"/>
                    </a:lnTo>
                    <a:lnTo>
                      <a:pt x="1148765" y="288607"/>
                    </a:lnTo>
                    <a:lnTo>
                      <a:pt x="1204556" y="299237"/>
                    </a:lnTo>
                    <a:lnTo>
                      <a:pt x="1234236" y="296570"/>
                    </a:lnTo>
                    <a:lnTo>
                      <a:pt x="1284681" y="275310"/>
                    </a:lnTo>
                    <a:lnTo>
                      <a:pt x="1324762" y="234175"/>
                    </a:lnTo>
                    <a:lnTo>
                      <a:pt x="1343698" y="181419"/>
                    </a:lnTo>
                    <a:lnTo>
                      <a:pt x="1345831" y="151193"/>
                    </a:lnTo>
                    <a:lnTo>
                      <a:pt x="1345831" y="148043"/>
                    </a:lnTo>
                    <a:close/>
                  </a:path>
                  <a:path w="2439670" h="2995929">
                    <a:moveTo>
                      <a:pt x="1362252" y="1389062"/>
                    </a:moveTo>
                    <a:lnTo>
                      <a:pt x="1350378" y="1333957"/>
                    </a:lnTo>
                    <a:lnTo>
                      <a:pt x="1318056" y="1288275"/>
                    </a:lnTo>
                    <a:lnTo>
                      <a:pt x="1270736" y="1257579"/>
                    </a:lnTo>
                    <a:lnTo>
                      <a:pt x="1214005" y="1247317"/>
                    </a:lnTo>
                    <a:lnTo>
                      <a:pt x="1186611" y="1249883"/>
                    </a:lnTo>
                    <a:lnTo>
                      <a:pt x="1137640" y="1270368"/>
                    </a:lnTo>
                    <a:lnTo>
                      <a:pt x="1098219" y="1309941"/>
                    </a:lnTo>
                    <a:lnTo>
                      <a:pt x="1077620" y="1360335"/>
                    </a:lnTo>
                    <a:lnTo>
                      <a:pt x="1075029" y="1389062"/>
                    </a:lnTo>
                    <a:lnTo>
                      <a:pt x="1075029" y="1395361"/>
                    </a:lnTo>
                    <a:lnTo>
                      <a:pt x="1085354" y="1448130"/>
                    </a:lnTo>
                    <a:lnTo>
                      <a:pt x="1116164" y="1493012"/>
                    </a:lnTo>
                    <a:lnTo>
                      <a:pt x="1161097" y="1523733"/>
                    </a:lnTo>
                    <a:lnTo>
                      <a:pt x="1213916" y="1533956"/>
                    </a:lnTo>
                    <a:lnTo>
                      <a:pt x="1243152" y="1531404"/>
                    </a:lnTo>
                    <a:lnTo>
                      <a:pt x="1295831" y="1510931"/>
                    </a:lnTo>
                    <a:lnTo>
                      <a:pt x="1336421" y="1471561"/>
                    </a:lnTo>
                    <a:lnTo>
                      <a:pt x="1359179" y="1422730"/>
                    </a:lnTo>
                    <a:lnTo>
                      <a:pt x="1362252" y="1395361"/>
                    </a:lnTo>
                    <a:lnTo>
                      <a:pt x="1362252" y="1389062"/>
                    </a:lnTo>
                    <a:close/>
                  </a:path>
                  <a:path w="2439670" h="2995929">
                    <a:moveTo>
                      <a:pt x="2291232" y="503072"/>
                    </a:moveTo>
                    <a:lnTo>
                      <a:pt x="2280602" y="442163"/>
                    </a:lnTo>
                    <a:lnTo>
                      <a:pt x="2248712" y="391464"/>
                    </a:lnTo>
                    <a:lnTo>
                      <a:pt x="2201849" y="356539"/>
                    </a:lnTo>
                    <a:lnTo>
                      <a:pt x="2146338" y="342874"/>
                    </a:lnTo>
                    <a:lnTo>
                      <a:pt x="335203" y="342874"/>
                    </a:lnTo>
                    <a:lnTo>
                      <a:pt x="264706" y="352437"/>
                    </a:lnTo>
                    <a:lnTo>
                      <a:pt x="198196" y="376174"/>
                    </a:lnTo>
                    <a:lnTo>
                      <a:pt x="137947" y="410489"/>
                    </a:lnTo>
                    <a:lnTo>
                      <a:pt x="86385" y="454240"/>
                    </a:lnTo>
                    <a:lnTo>
                      <a:pt x="48247" y="506450"/>
                    </a:lnTo>
                    <a:lnTo>
                      <a:pt x="19570" y="567309"/>
                    </a:lnTo>
                    <a:lnTo>
                      <a:pt x="2692" y="634479"/>
                    </a:lnTo>
                    <a:lnTo>
                      <a:pt x="0" y="705548"/>
                    </a:lnTo>
                    <a:lnTo>
                      <a:pt x="0" y="2850565"/>
                    </a:lnTo>
                    <a:lnTo>
                      <a:pt x="10490" y="2907385"/>
                    </a:lnTo>
                    <a:lnTo>
                      <a:pt x="42608" y="2954159"/>
                    </a:lnTo>
                    <a:lnTo>
                      <a:pt x="83870" y="2985478"/>
                    </a:lnTo>
                    <a:lnTo>
                      <a:pt x="134353" y="2995917"/>
                    </a:lnTo>
                    <a:lnTo>
                      <a:pt x="164630" y="2993313"/>
                    </a:lnTo>
                    <a:lnTo>
                      <a:pt x="218998" y="2972435"/>
                    </a:lnTo>
                    <a:lnTo>
                      <a:pt x="260565" y="2932036"/>
                    </a:lnTo>
                    <a:lnTo>
                      <a:pt x="284022" y="2880220"/>
                    </a:lnTo>
                    <a:lnTo>
                      <a:pt x="287223" y="775119"/>
                    </a:lnTo>
                    <a:lnTo>
                      <a:pt x="289585" y="751357"/>
                    </a:lnTo>
                    <a:lnTo>
                      <a:pt x="308419" y="710996"/>
                    </a:lnTo>
                    <a:lnTo>
                      <a:pt x="347002" y="674839"/>
                    </a:lnTo>
                    <a:lnTo>
                      <a:pt x="395300" y="656666"/>
                    </a:lnTo>
                    <a:lnTo>
                      <a:pt x="423405" y="654710"/>
                    </a:lnTo>
                    <a:lnTo>
                      <a:pt x="2146338" y="654710"/>
                    </a:lnTo>
                    <a:lnTo>
                      <a:pt x="2175167" y="651357"/>
                    </a:lnTo>
                    <a:lnTo>
                      <a:pt x="2226360" y="626999"/>
                    </a:lnTo>
                    <a:lnTo>
                      <a:pt x="2267318" y="585000"/>
                    </a:lnTo>
                    <a:lnTo>
                      <a:pt x="2288578" y="532269"/>
                    </a:lnTo>
                    <a:lnTo>
                      <a:pt x="2291232" y="503072"/>
                    </a:lnTo>
                    <a:close/>
                  </a:path>
                  <a:path w="2439670" h="2995929">
                    <a:moveTo>
                      <a:pt x="2412669" y="1389062"/>
                    </a:moveTo>
                    <a:lnTo>
                      <a:pt x="2405138" y="1333957"/>
                    </a:lnTo>
                    <a:lnTo>
                      <a:pt x="2377148" y="1288275"/>
                    </a:lnTo>
                    <a:lnTo>
                      <a:pt x="2334171" y="1257579"/>
                    </a:lnTo>
                    <a:lnTo>
                      <a:pt x="2281783" y="1247317"/>
                    </a:lnTo>
                    <a:lnTo>
                      <a:pt x="2254948" y="1249883"/>
                    </a:lnTo>
                    <a:lnTo>
                      <a:pt x="2208479" y="1270368"/>
                    </a:lnTo>
                    <a:lnTo>
                      <a:pt x="2170188" y="1309941"/>
                    </a:lnTo>
                    <a:lnTo>
                      <a:pt x="2152078" y="1360335"/>
                    </a:lnTo>
                    <a:lnTo>
                      <a:pt x="2150059" y="1389062"/>
                    </a:lnTo>
                    <a:lnTo>
                      <a:pt x="2150059" y="1395361"/>
                    </a:lnTo>
                    <a:lnTo>
                      <a:pt x="2158581" y="1448130"/>
                    </a:lnTo>
                    <a:lnTo>
                      <a:pt x="2187575" y="1493012"/>
                    </a:lnTo>
                    <a:lnTo>
                      <a:pt x="2231593" y="1523733"/>
                    </a:lnTo>
                    <a:lnTo>
                      <a:pt x="2283498" y="1533956"/>
                    </a:lnTo>
                    <a:lnTo>
                      <a:pt x="2311247" y="1531404"/>
                    </a:lnTo>
                    <a:lnTo>
                      <a:pt x="2357323" y="1510931"/>
                    </a:lnTo>
                    <a:lnTo>
                      <a:pt x="2394928" y="1471561"/>
                    </a:lnTo>
                    <a:lnTo>
                      <a:pt x="2411095" y="1422730"/>
                    </a:lnTo>
                    <a:lnTo>
                      <a:pt x="2412669" y="1395361"/>
                    </a:lnTo>
                    <a:lnTo>
                      <a:pt x="2412669" y="1389062"/>
                    </a:lnTo>
                    <a:close/>
                  </a:path>
                  <a:path w="2439670" h="2995929">
                    <a:moveTo>
                      <a:pt x="2439276" y="1048258"/>
                    </a:moveTo>
                    <a:lnTo>
                      <a:pt x="2429027" y="999083"/>
                    </a:lnTo>
                    <a:lnTo>
                      <a:pt x="2398318" y="958545"/>
                    </a:lnTo>
                    <a:lnTo>
                      <a:pt x="2352649" y="932192"/>
                    </a:lnTo>
                    <a:lnTo>
                      <a:pt x="2297531" y="925525"/>
                    </a:lnTo>
                    <a:lnTo>
                      <a:pt x="2180983" y="925525"/>
                    </a:lnTo>
                    <a:lnTo>
                      <a:pt x="2161400" y="922909"/>
                    </a:lnTo>
                    <a:lnTo>
                      <a:pt x="2127529" y="905383"/>
                    </a:lnTo>
                    <a:lnTo>
                      <a:pt x="2091601" y="860907"/>
                    </a:lnTo>
                    <a:lnTo>
                      <a:pt x="2080209" y="821969"/>
                    </a:lnTo>
                    <a:lnTo>
                      <a:pt x="2074862" y="796251"/>
                    </a:lnTo>
                    <a:lnTo>
                      <a:pt x="2065210" y="772795"/>
                    </a:lnTo>
                    <a:lnTo>
                      <a:pt x="2032952" y="733844"/>
                    </a:lnTo>
                    <a:lnTo>
                      <a:pt x="1988845" y="708660"/>
                    </a:lnTo>
                    <a:lnTo>
                      <a:pt x="1938451" y="700011"/>
                    </a:lnTo>
                    <a:lnTo>
                      <a:pt x="1912543" y="702017"/>
                    </a:lnTo>
                    <a:lnTo>
                      <a:pt x="1866099" y="718299"/>
                    </a:lnTo>
                    <a:lnTo>
                      <a:pt x="1827898" y="750493"/>
                    </a:lnTo>
                    <a:lnTo>
                      <a:pt x="1805076" y="793673"/>
                    </a:lnTo>
                    <a:lnTo>
                      <a:pt x="1796618" y="839673"/>
                    </a:lnTo>
                    <a:lnTo>
                      <a:pt x="1790014" y="859536"/>
                    </a:lnTo>
                    <a:lnTo>
                      <a:pt x="1766785" y="892810"/>
                    </a:lnTo>
                    <a:lnTo>
                      <a:pt x="1734896" y="915860"/>
                    </a:lnTo>
                    <a:lnTo>
                      <a:pt x="1699069" y="925525"/>
                    </a:lnTo>
                    <a:lnTo>
                      <a:pt x="1579384" y="925525"/>
                    </a:lnTo>
                    <a:lnTo>
                      <a:pt x="1550720" y="927036"/>
                    </a:lnTo>
                    <a:lnTo>
                      <a:pt x="1501114" y="942581"/>
                    </a:lnTo>
                    <a:lnTo>
                      <a:pt x="1462925" y="979170"/>
                    </a:lnTo>
                    <a:lnTo>
                      <a:pt x="1443240" y="1025118"/>
                    </a:lnTo>
                    <a:lnTo>
                      <a:pt x="1440789" y="1051902"/>
                    </a:lnTo>
                    <a:lnTo>
                      <a:pt x="1443240" y="1080223"/>
                    </a:lnTo>
                    <a:lnTo>
                      <a:pt x="1462925" y="1128725"/>
                    </a:lnTo>
                    <a:lnTo>
                      <a:pt x="1501114" y="1167422"/>
                    </a:lnTo>
                    <a:lnTo>
                      <a:pt x="1550720" y="1186002"/>
                    </a:lnTo>
                    <a:lnTo>
                      <a:pt x="1579384" y="1188135"/>
                    </a:lnTo>
                    <a:lnTo>
                      <a:pt x="1695919" y="1188135"/>
                    </a:lnTo>
                    <a:lnTo>
                      <a:pt x="1716227" y="1190193"/>
                    </a:lnTo>
                    <a:lnTo>
                      <a:pt x="1764499" y="1219301"/>
                    </a:lnTo>
                    <a:lnTo>
                      <a:pt x="1784223" y="1253413"/>
                    </a:lnTo>
                    <a:lnTo>
                      <a:pt x="1788985" y="1294574"/>
                    </a:lnTo>
                    <a:lnTo>
                      <a:pt x="1788985" y="1452054"/>
                    </a:lnTo>
                    <a:lnTo>
                      <a:pt x="1792287" y="1479435"/>
                    </a:lnTo>
                    <a:lnTo>
                      <a:pt x="1815706" y="1528254"/>
                    </a:lnTo>
                    <a:lnTo>
                      <a:pt x="1855177" y="1567624"/>
                    </a:lnTo>
                    <a:lnTo>
                      <a:pt x="1906663" y="1588096"/>
                    </a:lnTo>
                    <a:lnTo>
                      <a:pt x="1935734" y="1590649"/>
                    </a:lnTo>
                    <a:lnTo>
                      <a:pt x="1966290" y="1588096"/>
                    </a:lnTo>
                    <a:lnTo>
                      <a:pt x="2024710" y="1567624"/>
                    </a:lnTo>
                    <a:lnTo>
                      <a:pt x="2067928" y="1528254"/>
                    </a:lnTo>
                    <a:lnTo>
                      <a:pt x="2096427" y="1479435"/>
                    </a:lnTo>
                    <a:lnTo>
                      <a:pt x="2100821" y="1452054"/>
                    </a:lnTo>
                    <a:lnTo>
                      <a:pt x="2100821" y="1294574"/>
                    </a:lnTo>
                    <a:lnTo>
                      <a:pt x="2101075" y="1273225"/>
                    </a:lnTo>
                    <a:lnTo>
                      <a:pt x="2108936" y="1235354"/>
                    </a:lnTo>
                    <a:lnTo>
                      <a:pt x="2134654" y="1206017"/>
                    </a:lnTo>
                    <a:lnTo>
                      <a:pt x="2184133" y="1188135"/>
                    </a:lnTo>
                    <a:lnTo>
                      <a:pt x="2297531" y="1188135"/>
                    </a:lnTo>
                    <a:lnTo>
                      <a:pt x="2326271" y="1185773"/>
                    </a:lnTo>
                    <a:lnTo>
                      <a:pt x="2376665" y="1166152"/>
                    </a:lnTo>
                    <a:lnTo>
                      <a:pt x="2416225" y="1126883"/>
                    </a:lnTo>
                    <a:lnTo>
                      <a:pt x="2436711" y="1076921"/>
                    </a:lnTo>
                    <a:lnTo>
                      <a:pt x="2439276" y="10482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0" name="object 7"/>
              <p:cNvSpPr>
                <a:spLocks noChangeArrowheads="1"/>
              </p:cNvSpPr>
              <p:nvPr userDrawn="1"/>
            </p:nvSpPr>
            <p:spPr bwMode="auto">
              <a:xfrm>
                <a:off x="11455400" y="3736975"/>
                <a:ext cx="947738" cy="2436813"/>
              </a:xfrm>
              <a:custGeom>
                <a:avLst/>
                <a:gdLst>
                  <a:gd name="T0" fmla="*/ 413225 w 948054"/>
                  <a:gd name="T1" fmla="*/ 11223 h 2436495"/>
                  <a:gd name="T2" fmla="*/ 324716 w 948054"/>
                  <a:gd name="T3" fmla="*/ 95209 h 2436495"/>
                  <a:gd name="T4" fmla="*/ 311215 w 948054"/>
                  <a:gd name="T5" fmla="*/ 362502 h 2436495"/>
                  <a:gd name="T6" fmla="*/ 294023 w 948054"/>
                  <a:gd name="T7" fmla="*/ 430568 h 2436495"/>
                  <a:gd name="T8" fmla="*/ 217799 w 948054"/>
                  <a:gd name="T9" fmla="*/ 481351 h 2436495"/>
                  <a:gd name="T10" fmla="*/ 156288 w 948054"/>
                  <a:gd name="T11" fmla="*/ 483189 h 2436495"/>
                  <a:gd name="T12" fmla="*/ 68680 w 948054"/>
                  <a:gd name="T13" fmla="*/ 510842 h 2436495"/>
                  <a:gd name="T14" fmla="*/ 2804 w 948054"/>
                  <a:gd name="T15" fmla="*/ 611639 h 2436495"/>
                  <a:gd name="T16" fmla="*/ 2804 w 948054"/>
                  <a:gd name="T17" fmla="*/ 675928 h 2436495"/>
                  <a:gd name="T18" fmla="*/ 68680 w 948054"/>
                  <a:gd name="T19" fmla="*/ 776645 h 2436495"/>
                  <a:gd name="T20" fmla="*/ 156288 w 948054"/>
                  <a:gd name="T21" fmla="*/ 803242 h 2436495"/>
                  <a:gd name="T22" fmla="*/ 217799 w 948054"/>
                  <a:gd name="T23" fmla="*/ 805393 h 2436495"/>
                  <a:gd name="T24" fmla="*/ 294023 w 948054"/>
                  <a:gd name="T25" fmla="*/ 858157 h 2436495"/>
                  <a:gd name="T26" fmla="*/ 311215 w 948054"/>
                  <a:gd name="T27" fmla="*/ 927856 h 2436495"/>
                  <a:gd name="T28" fmla="*/ 304074 w 948054"/>
                  <a:gd name="T29" fmla="*/ 1157861 h 2436495"/>
                  <a:gd name="T30" fmla="*/ 239898 w 948054"/>
                  <a:gd name="T31" fmla="*/ 1228039 h 2436495"/>
                  <a:gd name="T32" fmla="*/ 156288 w 948054"/>
                  <a:gd name="T33" fmla="*/ 1238171 h 2436495"/>
                  <a:gd name="T34" fmla="*/ 68680 w 948054"/>
                  <a:gd name="T35" fmla="*/ 1261734 h 2436495"/>
                  <a:gd name="T36" fmla="*/ 2804 w 948054"/>
                  <a:gd name="T37" fmla="*/ 1359734 h 2436495"/>
                  <a:gd name="T38" fmla="*/ 2804 w 948054"/>
                  <a:gd name="T39" fmla="*/ 1422928 h 2436495"/>
                  <a:gd name="T40" fmla="*/ 68680 w 948054"/>
                  <a:gd name="T41" fmla="*/ 1519070 h 2436495"/>
                  <a:gd name="T42" fmla="*/ 156288 w 948054"/>
                  <a:gd name="T43" fmla="*/ 1541806 h 2436495"/>
                  <a:gd name="T44" fmla="*/ 217799 w 948054"/>
                  <a:gd name="T45" fmla="*/ 1544482 h 2436495"/>
                  <a:gd name="T46" fmla="*/ 294023 w 948054"/>
                  <a:gd name="T47" fmla="*/ 1600613 h 2436495"/>
                  <a:gd name="T48" fmla="*/ 311215 w 948054"/>
                  <a:gd name="T49" fmla="*/ 1673153 h 2436495"/>
                  <a:gd name="T50" fmla="*/ 304074 w 948054"/>
                  <a:gd name="T51" fmla="*/ 2029925 h 2436495"/>
                  <a:gd name="T52" fmla="*/ 239898 w 948054"/>
                  <a:gd name="T53" fmla="*/ 2098915 h 2436495"/>
                  <a:gd name="T54" fmla="*/ 166277 w 948054"/>
                  <a:gd name="T55" fmla="*/ 2108040 h 2436495"/>
                  <a:gd name="T56" fmla="*/ 79581 w 948054"/>
                  <a:gd name="T57" fmla="*/ 2134010 h 2436495"/>
                  <a:gd name="T58" fmla="*/ 15998 w 948054"/>
                  <a:gd name="T59" fmla="*/ 2233658 h 2436495"/>
                  <a:gd name="T60" fmla="*/ 15998 w 948054"/>
                  <a:gd name="T61" fmla="*/ 2298509 h 2436495"/>
                  <a:gd name="T62" fmla="*/ 79581 w 948054"/>
                  <a:gd name="T63" fmla="*/ 2405467 h 2436495"/>
                  <a:gd name="T64" fmla="*/ 166277 w 948054"/>
                  <a:gd name="T65" fmla="*/ 2436292 h 2436495"/>
                  <a:gd name="T66" fmla="*/ 381180 w 948054"/>
                  <a:gd name="T67" fmla="*/ 2427407 h 2436495"/>
                  <a:gd name="T68" fmla="*/ 495083 w 948054"/>
                  <a:gd name="T69" fmla="*/ 2375209 h 2436495"/>
                  <a:gd name="T70" fmla="*/ 581788 w 948054"/>
                  <a:gd name="T71" fmla="*/ 2288016 h 2436495"/>
                  <a:gd name="T72" fmla="*/ 632161 w 948054"/>
                  <a:gd name="T73" fmla="*/ 2174440 h 2436495"/>
                  <a:gd name="T74" fmla="*/ 639467 w 948054"/>
                  <a:gd name="T75" fmla="*/ 1639887 h 2436495"/>
                  <a:gd name="T76" fmla="*/ 663937 w 948054"/>
                  <a:gd name="T77" fmla="*/ 1572559 h 2436495"/>
                  <a:gd name="T78" fmla="*/ 728312 w 948054"/>
                  <a:gd name="T79" fmla="*/ 1541806 h 2436495"/>
                  <a:gd name="T80" fmla="*/ 829829 w 948054"/>
                  <a:gd name="T81" fmla="*/ 1539183 h 2436495"/>
                  <a:gd name="T82" fmla="*/ 924409 w 948054"/>
                  <a:gd name="T83" fmla="*/ 1471028 h 2436495"/>
                  <a:gd name="T84" fmla="*/ 947803 w 948054"/>
                  <a:gd name="T85" fmla="*/ 1382575 h 2436495"/>
                  <a:gd name="T86" fmla="*/ 924409 w 948054"/>
                  <a:gd name="T87" fmla="*/ 1299069 h 2436495"/>
                  <a:gd name="T88" fmla="*/ 829829 w 948054"/>
                  <a:gd name="T89" fmla="*/ 1240361 h 2436495"/>
                  <a:gd name="T90" fmla="*/ 761557 w 948054"/>
                  <a:gd name="T91" fmla="*/ 1238171 h 2436495"/>
                  <a:gd name="T92" fmla="*/ 692899 w 948054"/>
                  <a:gd name="T93" fmla="*/ 1215921 h 2436495"/>
                  <a:gd name="T94" fmla="*/ 641414 w 948054"/>
                  <a:gd name="T95" fmla="*/ 1133680 h 2436495"/>
                  <a:gd name="T96" fmla="*/ 639467 w 948054"/>
                  <a:gd name="T97" fmla="*/ 894601 h 2436495"/>
                  <a:gd name="T98" fmla="*/ 692795 w 948054"/>
                  <a:gd name="T99" fmla="*/ 809881 h 2436495"/>
                  <a:gd name="T100" fmla="*/ 798143 w 948054"/>
                  <a:gd name="T101" fmla="*/ 803242 h 2436495"/>
                  <a:gd name="T102" fmla="*/ 883871 w 948054"/>
                  <a:gd name="T103" fmla="*/ 775381 h 2436495"/>
                  <a:gd name="T104" fmla="*/ 945201 w 948054"/>
                  <a:gd name="T105" fmla="*/ 671166 h 2436495"/>
                  <a:gd name="T106" fmla="*/ 945201 w 948054"/>
                  <a:gd name="T107" fmla="*/ 606801 h 2436495"/>
                  <a:gd name="T108" fmla="*/ 883871 w 948054"/>
                  <a:gd name="T109" fmla="*/ 509163 h 2436495"/>
                  <a:gd name="T110" fmla="*/ 798143 w 948054"/>
                  <a:gd name="T111" fmla="*/ 483189 h 2436495"/>
                  <a:gd name="T112" fmla="*/ 736319 w 948054"/>
                  <a:gd name="T113" fmla="*/ 481351 h 2436495"/>
                  <a:gd name="T114" fmla="*/ 658228 w 948054"/>
                  <a:gd name="T115" fmla="*/ 430568 h 2436495"/>
                  <a:gd name="T116" fmla="*/ 639467 w 948054"/>
                  <a:gd name="T117" fmla="*/ 362502 h 2436495"/>
                  <a:gd name="T118" fmla="*/ 636219 w 948054"/>
                  <a:gd name="T119" fmla="*/ 124412 h 2436495"/>
                  <a:gd name="T120" fmla="*/ 566059 w 948054"/>
                  <a:gd name="T121" fmla="*/ 25254 h 2436495"/>
                  <a:gd name="T122" fmla="*/ 476634 w 948054"/>
                  <a:gd name="T123" fmla="*/ 0 h 2436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48054" h="2436495">
                    <a:moveTo>
                      <a:pt x="476634" y="0"/>
                    </a:moveTo>
                    <a:lnTo>
                      <a:pt x="413225" y="11223"/>
                    </a:lnTo>
                    <a:lnTo>
                      <a:pt x="360669" y="44899"/>
                    </a:lnTo>
                    <a:lnTo>
                      <a:pt x="324716" y="95209"/>
                    </a:lnTo>
                    <a:lnTo>
                      <a:pt x="311215" y="156309"/>
                    </a:lnTo>
                    <a:lnTo>
                      <a:pt x="311215" y="362502"/>
                    </a:lnTo>
                    <a:lnTo>
                      <a:pt x="309555" y="387630"/>
                    </a:lnTo>
                    <a:lnTo>
                      <a:pt x="294023" y="430568"/>
                    </a:lnTo>
                    <a:lnTo>
                      <a:pt x="259931" y="465020"/>
                    </a:lnTo>
                    <a:lnTo>
                      <a:pt x="217799" y="481351"/>
                    </a:lnTo>
                    <a:lnTo>
                      <a:pt x="192884" y="483189"/>
                    </a:lnTo>
                    <a:lnTo>
                      <a:pt x="156288" y="483189"/>
                    </a:lnTo>
                    <a:lnTo>
                      <a:pt x="124373" y="486440"/>
                    </a:lnTo>
                    <a:lnTo>
                      <a:pt x="68680" y="510842"/>
                    </a:lnTo>
                    <a:lnTo>
                      <a:pt x="25245" y="554948"/>
                    </a:lnTo>
                    <a:lnTo>
                      <a:pt x="2804" y="611639"/>
                    </a:lnTo>
                    <a:lnTo>
                      <a:pt x="0" y="643760"/>
                    </a:lnTo>
                    <a:lnTo>
                      <a:pt x="2804" y="675928"/>
                    </a:lnTo>
                    <a:lnTo>
                      <a:pt x="25245" y="732712"/>
                    </a:lnTo>
                    <a:lnTo>
                      <a:pt x="68680" y="776645"/>
                    </a:lnTo>
                    <a:lnTo>
                      <a:pt x="124373" y="800188"/>
                    </a:lnTo>
                    <a:lnTo>
                      <a:pt x="156288" y="803242"/>
                    </a:lnTo>
                    <a:lnTo>
                      <a:pt x="192884" y="803242"/>
                    </a:lnTo>
                    <a:lnTo>
                      <a:pt x="217799" y="805393"/>
                    </a:lnTo>
                    <a:lnTo>
                      <a:pt x="259931" y="823085"/>
                    </a:lnTo>
                    <a:lnTo>
                      <a:pt x="294023" y="858157"/>
                    </a:lnTo>
                    <a:lnTo>
                      <a:pt x="309555" y="902445"/>
                    </a:lnTo>
                    <a:lnTo>
                      <a:pt x="311215" y="927856"/>
                    </a:lnTo>
                    <a:lnTo>
                      <a:pt x="311215" y="1107788"/>
                    </a:lnTo>
                    <a:lnTo>
                      <a:pt x="304074" y="1157861"/>
                    </a:lnTo>
                    <a:lnTo>
                      <a:pt x="278651" y="1199586"/>
                    </a:lnTo>
                    <a:lnTo>
                      <a:pt x="239898" y="1228039"/>
                    </a:lnTo>
                    <a:lnTo>
                      <a:pt x="192884" y="1238171"/>
                    </a:lnTo>
                    <a:lnTo>
                      <a:pt x="156288" y="1238171"/>
                    </a:lnTo>
                    <a:lnTo>
                      <a:pt x="124373" y="1240664"/>
                    </a:lnTo>
                    <a:lnTo>
                      <a:pt x="68680" y="1261734"/>
                    </a:lnTo>
                    <a:lnTo>
                      <a:pt x="25245" y="1304709"/>
                    </a:lnTo>
                    <a:lnTo>
                      <a:pt x="2804" y="1359734"/>
                    </a:lnTo>
                    <a:lnTo>
                      <a:pt x="0" y="1391475"/>
                    </a:lnTo>
                    <a:lnTo>
                      <a:pt x="2804" y="1422928"/>
                    </a:lnTo>
                    <a:lnTo>
                      <a:pt x="25245" y="1476566"/>
                    </a:lnTo>
                    <a:lnTo>
                      <a:pt x="68680" y="1519070"/>
                    </a:lnTo>
                    <a:lnTo>
                      <a:pt x="124373" y="1539467"/>
                    </a:lnTo>
                    <a:lnTo>
                      <a:pt x="156288" y="1541806"/>
                    </a:lnTo>
                    <a:lnTo>
                      <a:pt x="192884" y="1541806"/>
                    </a:lnTo>
                    <a:lnTo>
                      <a:pt x="217799" y="1544482"/>
                    </a:lnTo>
                    <a:lnTo>
                      <a:pt x="259931" y="1564485"/>
                    </a:lnTo>
                    <a:lnTo>
                      <a:pt x="294023" y="1600613"/>
                    </a:lnTo>
                    <a:lnTo>
                      <a:pt x="309555" y="1647216"/>
                    </a:lnTo>
                    <a:lnTo>
                      <a:pt x="311215" y="1673153"/>
                    </a:lnTo>
                    <a:lnTo>
                      <a:pt x="311215" y="1983363"/>
                    </a:lnTo>
                    <a:lnTo>
                      <a:pt x="304074" y="2029925"/>
                    </a:lnTo>
                    <a:lnTo>
                      <a:pt x="278651" y="2070659"/>
                    </a:lnTo>
                    <a:lnTo>
                      <a:pt x="239898" y="2098915"/>
                    </a:lnTo>
                    <a:lnTo>
                      <a:pt x="192884" y="2108040"/>
                    </a:lnTo>
                    <a:lnTo>
                      <a:pt x="166277" y="2108040"/>
                    </a:lnTo>
                    <a:lnTo>
                      <a:pt x="134452" y="2110978"/>
                    </a:lnTo>
                    <a:lnTo>
                      <a:pt x="79581" y="2134010"/>
                    </a:lnTo>
                    <a:lnTo>
                      <a:pt x="37611" y="2177657"/>
                    </a:lnTo>
                    <a:lnTo>
                      <a:pt x="15998" y="2233658"/>
                    </a:lnTo>
                    <a:lnTo>
                      <a:pt x="13298" y="2265627"/>
                    </a:lnTo>
                    <a:lnTo>
                      <a:pt x="15998" y="2298509"/>
                    </a:lnTo>
                    <a:lnTo>
                      <a:pt x="37611" y="2358836"/>
                    </a:lnTo>
                    <a:lnTo>
                      <a:pt x="79581" y="2405467"/>
                    </a:lnTo>
                    <a:lnTo>
                      <a:pt x="134452" y="2432526"/>
                    </a:lnTo>
                    <a:lnTo>
                      <a:pt x="166277" y="2436292"/>
                    </a:lnTo>
                    <a:lnTo>
                      <a:pt x="319257" y="2436292"/>
                    </a:lnTo>
                    <a:lnTo>
                      <a:pt x="381180" y="2427407"/>
                    </a:lnTo>
                    <a:lnTo>
                      <a:pt x="440646" y="2406052"/>
                    </a:lnTo>
                    <a:lnTo>
                      <a:pt x="495083" y="2375209"/>
                    </a:lnTo>
                    <a:lnTo>
                      <a:pt x="542067" y="2335216"/>
                    </a:lnTo>
                    <a:lnTo>
                      <a:pt x="581788" y="2288016"/>
                    </a:lnTo>
                    <a:lnTo>
                      <a:pt x="612400" y="2234109"/>
                    </a:lnTo>
                    <a:lnTo>
                      <a:pt x="632161" y="2174440"/>
                    </a:lnTo>
                    <a:lnTo>
                      <a:pt x="639467" y="2109736"/>
                    </a:lnTo>
                    <a:lnTo>
                      <a:pt x="639467" y="1639887"/>
                    </a:lnTo>
                    <a:lnTo>
                      <a:pt x="640792" y="1621739"/>
                    </a:lnTo>
                    <a:lnTo>
                      <a:pt x="663937" y="1572559"/>
                    </a:lnTo>
                    <a:lnTo>
                      <a:pt x="709522" y="1543967"/>
                    </a:lnTo>
                    <a:lnTo>
                      <a:pt x="728312" y="1541806"/>
                    </a:lnTo>
                    <a:lnTo>
                      <a:pt x="798143" y="1541806"/>
                    </a:lnTo>
                    <a:lnTo>
                      <a:pt x="829829" y="1539183"/>
                    </a:lnTo>
                    <a:lnTo>
                      <a:pt x="883871" y="1516786"/>
                    </a:lnTo>
                    <a:lnTo>
                      <a:pt x="924409" y="1471028"/>
                    </a:lnTo>
                    <a:lnTo>
                      <a:pt x="945201" y="1414514"/>
                    </a:lnTo>
                    <a:lnTo>
                      <a:pt x="947803" y="1382575"/>
                    </a:lnTo>
                    <a:lnTo>
                      <a:pt x="945201" y="1351300"/>
                    </a:lnTo>
                    <a:lnTo>
                      <a:pt x="924409" y="1299069"/>
                    </a:lnTo>
                    <a:lnTo>
                      <a:pt x="883871" y="1259348"/>
                    </a:lnTo>
                    <a:lnTo>
                      <a:pt x="829829" y="1240361"/>
                    </a:lnTo>
                    <a:lnTo>
                      <a:pt x="798143" y="1238171"/>
                    </a:lnTo>
                    <a:lnTo>
                      <a:pt x="761557" y="1238171"/>
                    </a:lnTo>
                    <a:lnTo>
                      <a:pt x="736319" y="1235578"/>
                    </a:lnTo>
                    <a:lnTo>
                      <a:pt x="692899" y="1215921"/>
                    </a:lnTo>
                    <a:lnTo>
                      <a:pt x="658228" y="1179955"/>
                    </a:lnTo>
                    <a:lnTo>
                      <a:pt x="641414" y="1133680"/>
                    </a:lnTo>
                    <a:lnTo>
                      <a:pt x="639467" y="1107788"/>
                    </a:lnTo>
                    <a:lnTo>
                      <a:pt x="639467" y="894601"/>
                    </a:lnTo>
                    <a:lnTo>
                      <a:pt x="652618" y="845152"/>
                    </a:lnTo>
                    <a:lnTo>
                      <a:pt x="692795" y="809881"/>
                    </a:lnTo>
                    <a:lnTo>
                      <a:pt x="728312" y="803242"/>
                    </a:lnTo>
                    <a:lnTo>
                      <a:pt x="798143" y="803242"/>
                    </a:lnTo>
                    <a:lnTo>
                      <a:pt x="829829" y="800092"/>
                    </a:lnTo>
                    <a:lnTo>
                      <a:pt x="883871" y="775381"/>
                    </a:lnTo>
                    <a:lnTo>
                      <a:pt x="924409" y="728839"/>
                    </a:lnTo>
                    <a:lnTo>
                      <a:pt x="945201" y="671166"/>
                    </a:lnTo>
                    <a:lnTo>
                      <a:pt x="947803" y="638964"/>
                    </a:lnTo>
                    <a:lnTo>
                      <a:pt x="945201" y="606801"/>
                    </a:lnTo>
                    <a:lnTo>
                      <a:pt x="924409" y="550660"/>
                    </a:lnTo>
                    <a:lnTo>
                      <a:pt x="883871" y="509163"/>
                    </a:lnTo>
                    <a:lnTo>
                      <a:pt x="829829" y="486267"/>
                    </a:lnTo>
                    <a:lnTo>
                      <a:pt x="798143" y="483189"/>
                    </a:lnTo>
                    <a:lnTo>
                      <a:pt x="761557" y="483189"/>
                    </a:lnTo>
                    <a:lnTo>
                      <a:pt x="736319" y="481351"/>
                    </a:lnTo>
                    <a:lnTo>
                      <a:pt x="692899" y="465020"/>
                    </a:lnTo>
                    <a:lnTo>
                      <a:pt x="658228" y="430568"/>
                    </a:lnTo>
                    <a:lnTo>
                      <a:pt x="641414" y="387630"/>
                    </a:lnTo>
                    <a:lnTo>
                      <a:pt x="639467" y="362502"/>
                    </a:lnTo>
                    <a:lnTo>
                      <a:pt x="639467" y="156309"/>
                    </a:lnTo>
                    <a:lnTo>
                      <a:pt x="636219" y="124412"/>
                    </a:lnTo>
                    <a:lnTo>
                      <a:pt x="611465" y="68703"/>
                    </a:lnTo>
                    <a:lnTo>
                      <a:pt x="566059" y="25254"/>
                    </a:lnTo>
                    <a:lnTo>
                      <a:pt x="508792" y="2805"/>
                    </a:lnTo>
                    <a:lnTo>
                      <a:pt x="47663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1" name="object 8"/>
              <p:cNvSpPr>
                <a:spLocks noChangeArrowheads="1"/>
              </p:cNvSpPr>
              <p:nvPr userDrawn="1"/>
            </p:nvSpPr>
            <p:spPr bwMode="auto">
              <a:xfrm>
                <a:off x="12174538" y="3443288"/>
                <a:ext cx="2033587" cy="2806700"/>
              </a:xfrm>
              <a:custGeom>
                <a:avLst/>
                <a:gdLst>
                  <a:gd name="T0" fmla="*/ 1609966 w 2033905"/>
                  <a:gd name="T1" fmla="*/ 2058797 h 2806700"/>
                  <a:gd name="T2" fmla="*/ 1609991 w 2033905"/>
                  <a:gd name="T3" fmla="*/ 2362441 h 2806700"/>
                  <a:gd name="T4" fmla="*/ 1578444 w 2033905"/>
                  <a:gd name="T5" fmla="*/ 2062302 h 2806700"/>
                  <a:gd name="T6" fmla="*/ 1485773 w 2033905"/>
                  <a:gd name="T7" fmla="*/ 2294763 h 2806700"/>
                  <a:gd name="T8" fmla="*/ 1732178 w 2033905"/>
                  <a:gd name="T9" fmla="*/ 2295194 h 2806700"/>
                  <a:gd name="T10" fmla="*/ 1939251 w 2033905"/>
                  <a:gd name="T11" fmla="*/ 1193800 h 2806700"/>
                  <a:gd name="T12" fmla="*/ 1766900 w 2033905"/>
                  <a:gd name="T13" fmla="*/ 1130300 h 2806700"/>
                  <a:gd name="T14" fmla="*/ 1730527 w 2033905"/>
                  <a:gd name="T15" fmla="*/ 952500 h 2806700"/>
                  <a:gd name="T16" fmla="*/ 1544942 w 2033905"/>
                  <a:gd name="T17" fmla="*/ 749300 h 2806700"/>
                  <a:gd name="T18" fmla="*/ 1437030 w 2033905"/>
                  <a:gd name="T19" fmla="*/ 1600200 h 2806700"/>
                  <a:gd name="T20" fmla="*/ 1204328 w 2033905"/>
                  <a:gd name="T21" fmla="*/ 1612900 h 2806700"/>
                  <a:gd name="T22" fmla="*/ 1193482 w 2033905"/>
                  <a:gd name="T23" fmla="*/ 1524000 h 2806700"/>
                  <a:gd name="T24" fmla="*/ 1420291 w 2033905"/>
                  <a:gd name="T25" fmla="*/ 1485900 h 2806700"/>
                  <a:gd name="T26" fmla="*/ 1439456 w 2033905"/>
                  <a:gd name="T27" fmla="*/ 736600 h 2806700"/>
                  <a:gd name="T28" fmla="*/ 1423530 w 2033905"/>
                  <a:gd name="T29" fmla="*/ 1181100 h 2806700"/>
                  <a:gd name="T30" fmla="*/ 1193139 w 2033905"/>
                  <a:gd name="T31" fmla="*/ 1130300 h 2806700"/>
                  <a:gd name="T32" fmla="*/ 1211541 w 2033905"/>
                  <a:gd name="T33" fmla="*/ 1054100 h 2806700"/>
                  <a:gd name="T34" fmla="*/ 1439329 w 2033905"/>
                  <a:gd name="T35" fmla="*/ 736600 h 2806700"/>
                  <a:gd name="T36" fmla="*/ 1194003 w 2033905"/>
                  <a:gd name="T37" fmla="*/ 685800 h 2806700"/>
                  <a:gd name="T38" fmla="*/ 1794687 w 2033905"/>
                  <a:gd name="T39" fmla="*/ 571500 h 2806700"/>
                  <a:gd name="T40" fmla="*/ 1914436 w 2033905"/>
                  <a:gd name="T41" fmla="*/ 457200 h 2806700"/>
                  <a:gd name="T42" fmla="*/ 1276794 w 2033905"/>
                  <a:gd name="T43" fmla="*/ 266700 h 2806700"/>
                  <a:gd name="T44" fmla="*/ 1194625 w 2033905"/>
                  <a:gd name="T45" fmla="*/ 177800 h 2806700"/>
                  <a:gd name="T46" fmla="*/ 1096949 w 2033905"/>
                  <a:gd name="T47" fmla="*/ 12700 h 2806700"/>
                  <a:gd name="T48" fmla="*/ 905916 w 2033905"/>
                  <a:gd name="T49" fmla="*/ 152400 h 2806700"/>
                  <a:gd name="T50" fmla="*/ 846226 w 2033905"/>
                  <a:gd name="T51" fmla="*/ 254000 h 2806700"/>
                  <a:gd name="T52" fmla="*/ 212852 w 2033905"/>
                  <a:gd name="T53" fmla="*/ 317500 h 2806700"/>
                  <a:gd name="T54" fmla="*/ 181660 w 2033905"/>
                  <a:gd name="T55" fmla="*/ 482600 h 2806700"/>
                  <a:gd name="T56" fmla="*/ 317601 w 2033905"/>
                  <a:gd name="T57" fmla="*/ 584200 h 2806700"/>
                  <a:gd name="T58" fmla="*/ 895604 w 2033905"/>
                  <a:gd name="T59" fmla="*/ 698500 h 2806700"/>
                  <a:gd name="T60" fmla="*/ 452272 w 2033905"/>
                  <a:gd name="T61" fmla="*/ 749300 h 2806700"/>
                  <a:gd name="T62" fmla="*/ 360832 w 2033905"/>
                  <a:gd name="T63" fmla="*/ 889000 h 2806700"/>
                  <a:gd name="T64" fmla="*/ 452272 w 2033905"/>
                  <a:gd name="T65" fmla="*/ 1028700 h 2806700"/>
                  <a:gd name="T66" fmla="*/ 905916 w 2033905"/>
                  <a:gd name="T67" fmla="*/ 1130300 h 2806700"/>
                  <a:gd name="T68" fmla="*/ 285584 w 2033905"/>
                  <a:gd name="T69" fmla="*/ 1193800 h 2806700"/>
                  <a:gd name="T70" fmla="*/ 191223 w 2033905"/>
                  <a:gd name="T71" fmla="*/ 1333500 h 2806700"/>
                  <a:gd name="T72" fmla="*/ 862914 w 2033905"/>
                  <a:gd name="T73" fmla="*/ 1485900 h 2806700"/>
                  <a:gd name="T74" fmla="*/ 905916 w 2033905"/>
                  <a:gd name="T75" fmla="*/ 1524000 h 2806700"/>
                  <a:gd name="T76" fmla="*/ 874191 w 2033905"/>
                  <a:gd name="T77" fmla="*/ 1612900 h 2806700"/>
                  <a:gd name="T78" fmla="*/ 360832 w 2033905"/>
                  <a:gd name="T79" fmla="*/ 1765300 h 2806700"/>
                  <a:gd name="T80" fmla="*/ 510489 w 2033905"/>
                  <a:gd name="T81" fmla="*/ 1905000 h 2806700"/>
                  <a:gd name="T82" fmla="*/ 890612 w 2033905"/>
                  <a:gd name="T83" fmla="*/ 2006600 h 2806700"/>
                  <a:gd name="T84" fmla="*/ 862076 w 2033905"/>
                  <a:gd name="T85" fmla="*/ 2451100 h 2806700"/>
                  <a:gd name="T86" fmla="*/ 654888 w 2033905"/>
                  <a:gd name="T87" fmla="*/ 2463800 h 2806700"/>
                  <a:gd name="T88" fmla="*/ 605624 w 2033905"/>
                  <a:gd name="T89" fmla="*/ 2425700 h 2806700"/>
                  <a:gd name="T90" fmla="*/ 548132 w 2033905"/>
                  <a:gd name="T91" fmla="*/ 2324100 h 2806700"/>
                  <a:gd name="T92" fmla="*/ 584923 w 2033905"/>
                  <a:gd name="T93" fmla="*/ 2133600 h 2806700"/>
                  <a:gd name="T94" fmla="*/ 367487 w 2033905"/>
                  <a:gd name="T95" fmla="*/ 2019300 h 2806700"/>
                  <a:gd name="T96" fmla="*/ 257606 w 2033905"/>
                  <a:gd name="T97" fmla="*/ 2209800 h 2806700"/>
                  <a:gd name="T98" fmla="*/ 100368 w 2033905"/>
                  <a:gd name="T99" fmla="*/ 2476500 h 2806700"/>
                  <a:gd name="T100" fmla="*/ 0 w 2033905"/>
                  <a:gd name="T101" fmla="*/ 2679700 h 2806700"/>
                  <a:gd name="T102" fmla="*/ 217805 w 2033905"/>
                  <a:gd name="T103" fmla="*/ 2794000 h 2806700"/>
                  <a:gd name="T104" fmla="*/ 351167 w 2033905"/>
                  <a:gd name="T105" fmla="*/ 2679700 h 2806700"/>
                  <a:gd name="T106" fmla="*/ 518896 w 2033905"/>
                  <a:gd name="T107" fmla="*/ 2730500 h 2806700"/>
                  <a:gd name="T108" fmla="*/ 1866519 w 2033905"/>
                  <a:gd name="T109" fmla="*/ 2794000 h 2806700"/>
                  <a:gd name="T110" fmla="*/ 1955787 w 2033905"/>
                  <a:gd name="T111" fmla="*/ 2667000 h 2806700"/>
                  <a:gd name="T112" fmla="*/ 1839709 w 2033905"/>
                  <a:gd name="T113" fmla="*/ 2514600 h 2806700"/>
                  <a:gd name="T114" fmla="*/ 1193139 w 2033905"/>
                  <a:gd name="T115" fmla="*/ 2362200 h 2806700"/>
                  <a:gd name="T116" fmla="*/ 1252270 w 2033905"/>
                  <a:gd name="T117" fmla="*/ 1930400 h 2806700"/>
                  <a:gd name="T118" fmla="*/ 1586318 w 2033905"/>
                  <a:gd name="T119" fmla="*/ 1879600 h 2806700"/>
                  <a:gd name="T120" fmla="*/ 1739912 w 2033905"/>
                  <a:gd name="T121" fmla="*/ 1663700 h 2806700"/>
                  <a:gd name="T122" fmla="*/ 1783549 w 2033905"/>
                  <a:gd name="T123" fmla="*/ 1524000 h 2806700"/>
                  <a:gd name="T124" fmla="*/ 1965147 w 2033905"/>
                  <a:gd name="T125" fmla="*/ 1460500 h 2806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3905" h="2806700">
                    <a:moveTo>
                      <a:pt x="1609966" y="2058797"/>
                    </a:moveTo>
                    <a:lnTo>
                      <a:pt x="1605572" y="2058797"/>
                    </a:lnTo>
                    <a:lnTo>
                      <a:pt x="1606638" y="2058936"/>
                    </a:lnTo>
                    <a:lnTo>
                      <a:pt x="1607756" y="2058962"/>
                    </a:lnTo>
                    <a:lnTo>
                      <a:pt x="1608899" y="2058936"/>
                    </a:lnTo>
                    <a:lnTo>
                      <a:pt x="1609966" y="2058797"/>
                    </a:lnTo>
                    <a:close/>
                  </a:path>
                  <a:path w="2033905" h="2806700">
                    <a:moveTo>
                      <a:pt x="1609991" y="2362441"/>
                    </a:moveTo>
                    <a:lnTo>
                      <a:pt x="1608937" y="2362301"/>
                    </a:lnTo>
                    <a:lnTo>
                      <a:pt x="1607807" y="2362289"/>
                    </a:lnTo>
                    <a:lnTo>
                      <a:pt x="1606677" y="2362301"/>
                    </a:lnTo>
                    <a:lnTo>
                      <a:pt x="1605597" y="2362441"/>
                    </a:lnTo>
                    <a:lnTo>
                      <a:pt x="1609991" y="2362441"/>
                    </a:lnTo>
                    <a:close/>
                  </a:path>
                  <a:path w="2033905" h="2806700">
                    <a:moveTo>
                      <a:pt x="1757438" y="2208123"/>
                    </a:moveTo>
                    <a:lnTo>
                      <a:pt x="1746211" y="2151672"/>
                    </a:lnTo>
                    <a:lnTo>
                      <a:pt x="1712544" y="2103526"/>
                    </a:lnTo>
                    <a:lnTo>
                      <a:pt x="1664474" y="2071039"/>
                    </a:lnTo>
                    <a:lnTo>
                      <a:pt x="1607756" y="2058962"/>
                    </a:lnTo>
                    <a:lnTo>
                      <a:pt x="1578444" y="2062302"/>
                    </a:lnTo>
                    <a:lnTo>
                      <a:pt x="1526895" y="2084666"/>
                    </a:lnTo>
                    <a:lnTo>
                      <a:pt x="1485773" y="2126069"/>
                    </a:lnTo>
                    <a:lnTo>
                      <a:pt x="1464157" y="2178037"/>
                    </a:lnTo>
                    <a:lnTo>
                      <a:pt x="1461465" y="2207031"/>
                    </a:lnTo>
                    <a:lnTo>
                      <a:pt x="1464157" y="2239048"/>
                    </a:lnTo>
                    <a:lnTo>
                      <a:pt x="1485773" y="2294763"/>
                    </a:lnTo>
                    <a:lnTo>
                      <a:pt x="1526908" y="2336647"/>
                    </a:lnTo>
                    <a:lnTo>
                      <a:pt x="1578483" y="2358974"/>
                    </a:lnTo>
                    <a:lnTo>
                      <a:pt x="1607807" y="2362289"/>
                    </a:lnTo>
                    <a:lnTo>
                      <a:pt x="1637220" y="2359025"/>
                    </a:lnTo>
                    <a:lnTo>
                      <a:pt x="1689608" y="2336901"/>
                    </a:lnTo>
                    <a:lnTo>
                      <a:pt x="1732178" y="2295194"/>
                    </a:lnTo>
                    <a:lnTo>
                      <a:pt x="1754632" y="2240013"/>
                    </a:lnTo>
                    <a:lnTo>
                      <a:pt x="1757438" y="2208123"/>
                    </a:lnTo>
                    <a:close/>
                  </a:path>
                  <a:path w="2033905" h="2806700">
                    <a:moveTo>
                      <a:pt x="2033638" y="1333500"/>
                    </a:moveTo>
                    <a:lnTo>
                      <a:pt x="2022411" y="1282700"/>
                    </a:lnTo>
                    <a:lnTo>
                      <a:pt x="1988743" y="1231900"/>
                    </a:lnTo>
                    <a:lnTo>
                      <a:pt x="1939251" y="1193800"/>
                    </a:lnTo>
                    <a:lnTo>
                      <a:pt x="1911083" y="1193800"/>
                    </a:lnTo>
                    <a:lnTo>
                      <a:pt x="1880641" y="1181100"/>
                    </a:lnTo>
                    <a:lnTo>
                      <a:pt x="1826272" y="1181100"/>
                    </a:lnTo>
                    <a:lnTo>
                      <a:pt x="1803488" y="1168400"/>
                    </a:lnTo>
                    <a:lnTo>
                      <a:pt x="1783549" y="1143000"/>
                    </a:lnTo>
                    <a:lnTo>
                      <a:pt x="1766900" y="1130300"/>
                    </a:lnTo>
                    <a:lnTo>
                      <a:pt x="1754098" y="1104900"/>
                    </a:lnTo>
                    <a:lnTo>
                      <a:pt x="1745869" y="1079500"/>
                    </a:lnTo>
                    <a:lnTo>
                      <a:pt x="1742960" y="1054100"/>
                    </a:lnTo>
                    <a:lnTo>
                      <a:pt x="1742960" y="1041400"/>
                    </a:lnTo>
                    <a:lnTo>
                      <a:pt x="1739912" y="990600"/>
                    </a:lnTo>
                    <a:lnTo>
                      <a:pt x="1730527" y="952500"/>
                    </a:lnTo>
                    <a:lnTo>
                      <a:pt x="1714411" y="901700"/>
                    </a:lnTo>
                    <a:lnTo>
                      <a:pt x="1691195" y="863600"/>
                    </a:lnTo>
                    <a:lnTo>
                      <a:pt x="1660486" y="825500"/>
                    </a:lnTo>
                    <a:lnTo>
                      <a:pt x="1624698" y="800100"/>
                    </a:lnTo>
                    <a:lnTo>
                      <a:pt x="1586318" y="774700"/>
                    </a:lnTo>
                    <a:lnTo>
                      <a:pt x="1544942" y="749300"/>
                    </a:lnTo>
                    <a:lnTo>
                      <a:pt x="1500174" y="736600"/>
                    </a:lnTo>
                    <a:lnTo>
                      <a:pt x="1439456" y="736600"/>
                    </a:lnTo>
                    <a:lnTo>
                      <a:pt x="1439456" y="1524000"/>
                    </a:lnTo>
                    <a:lnTo>
                      <a:pt x="1439456" y="1587500"/>
                    </a:lnTo>
                    <a:lnTo>
                      <a:pt x="1439062" y="1587500"/>
                    </a:lnTo>
                    <a:lnTo>
                      <a:pt x="1437030" y="1600200"/>
                    </a:lnTo>
                    <a:lnTo>
                      <a:pt x="1432191" y="1612900"/>
                    </a:lnTo>
                    <a:lnTo>
                      <a:pt x="1426070" y="1612900"/>
                    </a:lnTo>
                    <a:lnTo>
                      <a:pt x="1420291" y="1625600"/>
                    </a:lnTo>
                    <a:lnTo>
                      <a:pt x="1218653" y="1625600"/>
                    </a:lnTo>
                    <a:lnTo>
                      <a:pt x="1211541" y="1612900"/>
                    </a:lnTo>
                    <a:lnTo>
                      <a:pt x="1204328" y="1612900"/>
                    </a:lnTo>
                    <a:lnTo>
                      <a:pt x="1198372" y="1600200"/>
                    </a:lnTo>
                    <a:lnTo>
                      <a:pt x="1194993" y="1587500"/>
                    </a:lnTo>
                    <a:lnTo>
                      <a:pt x="1193482" y="1587500"/>
                    </a:lnTo>
                    <a:lnTo>
                      <a:pt x="1193139" y="1574800"/>
                    </a:lnTo>
                    <a:lnTo>
                      <a:pt x="1193139" y="1524000"/>
                    </a:lnTo>
                    <a:lnTo>
                      <a:pt x="1193482" y="1524000"/>
                    </a:lnTo>
                    <a:lnTo>
                      <a:pt x="1194993" y="1511300"/>
                    </a:lnTo>
                    <a:lnTo>
                      <a:pt x="1198372" y="1511300"/>
                    </a:lnTo>
                    <a:lnTo>
                      <a:pt x="1204328" y="1498600"/>
                    </a:lnTo>
                    <a:lnTo>
                      <a:pt x="1211541" y="1498600"/>
                    </a:lnTo>
                    <a:lnTo>
                      <a:pt x="1218653" y="1485900"/>
                    </a:lnTo>
                    <a:lnTo>
                      <a:pt x="1420291" y="1485900"/>
                    </a:lnTo>
                    <a:lnTo>
                      <a:pt x="1426070" y="1498600"/>
                    </a:lnTo>
                    <a:lnTo>
                      <a:pt x="1432191" y="1498600"/>
                    </a:lnTo>
                    <a:lnTo>
                      <a:pt x="1437030" y="1511300"/>
                    </a:lnTo>
                    <a:lnTo>
                      <a:pt x="1439062" y="1511300"/>
                    </a:lnTo>
                    <a:lnTo>
                      <a:pt x="1439456" y="1524000"/>
                    </a:lnTo>
                    <a:lnTo>
                      <a:pt x="1439456" y="736600"/>
                    </a:lnTo>
                    <a:lnTo>
                      <a:pt x="1439329" y="736600"/>
                    </a:lnTo>
                    <a:lnTo>
                      <a:pt x="1439329" y="1092200"/>
                    </a:lnTo>
                    <a:lnTo>
                      <a:pt x="1439329" y="1130300"/>
                    </a:lnTo>
                    <a:lnTo>
                      <a:pt x="1438338" y="1155700"/>
                    </a:lnTo>
                    <a:lnTo>
                      <a:pt x="1433842" y="1168400"/>
                    </a:lnTo>
                    <a:lnTo>
                      <a:pt x="1423530" y="1181100"/>
                    </a:lnTo>
                    <a:lnTo>
                      <a:pt x="1211541" y="1181100"/>
                    </a:lnTo>
                    <a:lnTo>
                      <a:pt x="1204328" y="1168400"/>
                    </a:lnTo>
                    <a:lnTo>
                      <a:pt x="1198372" y="1155700"/>
                    </a:lnTo>
                    <a:lnTo>
                      <a:pt x="1194993" y="1155700"/>
                    </a:lnTo>
                    <a:lnTo>
                      <a:pt x="1193482" y="1143000"/>
                    </a:lnTo>
                    <a:lnTo>
                      <a:pt x="1193139" y="1130300"/>
                    </a:lnTo>
                    <a:lnTo>
                      <a:pt x="1193139" y="1092200"/>
                    </a:lnTo>
                    <a:lnTo>
                      <a:pt x="1193482" y="1079500"/>
                    </a:lnTo>
                    <a:lnTo>
                      <a:pt x="1194993" y="1066800"/>
                    </a:lnTo>
                    <a:lnTo>
                      <a:pt x="1198372" y="1066800"/>
                    </a:lnTo>
                    <a:lnTo>
                      <a:pt x="1204328" y="1054100"/>
                    </a:lnTo>
                    <a:lnTo>
                      <a:pt x="1211541" y="1054100"/>
                    </a:lnTo>
                    <a:lnTo>
                      <a:pt x="1218653" y="1041400"/>
                    </a:lnTo>
                    <a:lnTo>
                      <a:pt x="1423530" y="1041400"/>
                    </a:lnTo>
                    <a:lnTo>
                      <a:pt x="1433842" y="1054100"/>
                    </a:lnTo>
                    <a:lnTo>
                      <a:pt x="1438338" y="1066800"/>
                    </a:lnTo>
                    <a:lnTo>
                      <a:pt x="1439329" y="1092200"/>
                    </a:lnTo>
                    <a:lnTo>
                      <a:pt x="1439329" y="736600"/>
                    </a:lnTo>
                    <a:lnTo>
                      <a:pt x="1236510" y="736600"/>
                    </a:lnTo>
                    <a:lnTo>
                      <a:pt x="1224305" y="723900"/>
                    </a:lnTo>
                    <a:lnTo>
                      <a:pt x="1212646" y="711200"/>
                    </a:lnTo>
                    <a:lnTo>
                      <a:pt x="1203045" y="698500"/>
                    </a:lnTo>
                    <a:lnTo>
                      <a:pt x="1197063" y="698500"/>
                    </a:lnTo>
                    <a:lnTo>
                      <a:pt x="1194003" y="685800"/>
                    </a:lnTo>
                    <a:lnTo>
                      <a:pt x="1193139" y="660400"/>
                    </a:lnTo>
                    <a:lnTo>
                      <a:pt x="1193139" y="647700"/>
                    </a:lnTo>
                    <a:lnTo>
                      <a:pt x="1203045" y="609600"/>
                    </a:lnTo>
                    <a:lnTo>
                      <a:pt x="1224305" y="584200"/>
                    </a:lnTo>
                    <a:lnTo>
                      <a:pt x="1764258" y="584200"/>
                    </a:lnTo>
                    <a:lnTo>
                      <a:pt x="1794687" y="571500"/>
                    </a:lnTo>
                    <a:lnTo>
                      <a:pt x="1822856" y="571500"/>
                    </a:lnTo>
                    <a:lnTo>
                      <a:pt x="1848751" y="546100"/>
                    </a:lnTo>
                    <a:lnTo>
                      <a:pt x="1872335" y="533400"/>
                    </a:lnTo>
                    <a:lnTo>
                      <a:pt x="1891982" y="508000"/>
                    </a:lnTo>
                    <a:lnTo>
                      <a:pt x="1906016" y="482600"/>
                    </a:lnTo>
                    <a:lnTo>
                      <a:pt x="1914436" y="457200"/>
                    </a:lnTo>
                    <a:lnTo>
                      <a:pt x="1917242" y="431800"/>
                    </a:lnTo>
                    <a:lnTo>
                      <a:pt x="1914436" y="393700"/>
                    </a:lnTo>
                    <a:lnTo>
                      <a:pt x="1891982" y="342900"/>
                    </a:lnTo>
                    <a:lnTo>
                      <a:pt x="1848751" y="292100"/>
                    </a:lnTo>
                    <a:lnTo>
                      <a:pt x="1794687" y="266700"/>
                    </a:lnTo>
                    <a:lnTo>
                      <a:pt x="1276794" y="266700"/>
                    </a:lnTo>
                    <a:lnTo>
                      <a:pt x="1257287" y="254000"/>
                    </a:lnTo>
                    <a:lnTo>
                      <a:pt x="1239469" y="254000"/>
                    </a:lnTo>
                    <a:lnTo>
                      <a:pt x="1222616" y="241300"/>
                    </a:lnTo>
                    <a:lnTo>
                      <a:pt x="1208659" y="215900"/>
                    </a:lnTo>
                    <a:lnTo>
                      <a:pt x="1199553" y="203200"/>
                    </a:lnTo>
                    <a:lnTo>
                      <a:pt x="1194625" y="177800"/>
                    </a:lnTo>
                    <a:lnTo>
                      <a:pt x="1193139" y="165100"/>
                    </a:lnTo>
                    <a:lnTo>
                      <a:pt x="1193139" y="152400"/>
                    </a:lnTo>
                    <a:lnTo>
                      <a:pt x="1189837" y="127000"/>
                    </a:lnTo>
                    <a:lnTo>
                      <a:pt x="1180426" y="88900"/>
                    </a:lnTo>
                    <a:lnTo>
                      <a:pt x="1146136" y="38100"/>
                    </a:lnTo>
                    <a:lnTo>
                      <a:pt x="1096949" y="12700"/>
                    </a:lnTo>
                    <a:lnTo>
                      <a:pt x="1068451" y="0"/>
                    </a:lnTo>
                    <a:lnTo>
                      <a:pt x="1008849" y="0"/>
                    </a:lnTo>
                    <a:lnTo>
                      <a:pt x="961732" y="25400"/>
                    </a:lnTo>
                    <a:lnTo>
                      <a:pt x="922743" y="63500"/>
                    </a:lnTo>
                    <a:lnTo>
                      <a:pt x="907237" y="127000"/>
                    </a:lnTo>
                    <a:lnTo>
                      <a:pt x="905916" y="152400"/>
                    </a:lnTo>
                    <a:lnTo>
                      <a:pt x="905916" y="165100"/>
                    </a:lnTo>
                    <a:lnTo>
                      <a:pt x="902411" y="177800"/>
                    </a:lnTo>
                    <a:lnTo>
                      <a:pt x="893102" y="203200"/>
                    </a:lnTo>
                    <a:lnTo>
                      <a:pt x="879856" y="215900"/>
                    </a:lnTo>
                    <a:lnTo>
                      <a:pt x="864501" y="241300"/>
                    </a:lnTo>
                    <a:lnTo>
                      <a:pt x="846226" y="254000"/>
                    </a:lnTo>
                    <a:lnTo>
                      <a:pt x="824255" y="254000"/>
                    </a:lnTo>
                    <a:lnTo>
                      <a:pt x="800404" y="266700"/>
                    </a:lnTo>
                    <a:lnTo>
                      <a:pt x="287350" y="266700"/>
                    </a:lnTo>
                    <a:lnTo>
                      <a:pt x="259816" y="279400"/>
                    </a:lnTo>
                    <a:lnTo>
                      <a:pt x="234975" y="292100"/>
                    </a:lnTo>
                    <a:lnTo>
                      <a:pt x="212852" y="317500"/>
                    </a:lnTo>
                    <a:lnTo>
                      <a:pt x="194640" y="330200"/>
                    </a:lnTo>
                    <a:lnTo>
                      <a:pt x="181660" y="368300"/>
                    </a:lnTo>
                    <a:lnTo>
                      <a:pt x="173875" y="393700"/>
                    </a:lnTo>
                    <a:lnTo>
                      <a:pt x="171284" y="419100"/>
                    </a:lnTo>
                    <a:lnTo>
                      <a:pt x="173875" y="457200"/>
                    </a:lnTo>
                    <a:lnTo>
                      <a:pt x="181660" y="482600"/>
                    </a:lnTo>
                    <a:lnTo>
                      <a:pt x="194640" y="508000"/>
                    </a:lnTo>
                    <a:lnTo>
                      <a:pt x="212852" y="533400"/>
                    </a:lnTo>
                    <a:lnTo>
                      <a:pt x="234975" y="546100"/>
                    </a:lnTo>
                    <a:lnTo>
                      <a:pt x="259816" y="571500"/>
                    </a:lnTo>
                    <a:lnTo>
                      <a:pt x="287350" y="571500"/>
                    </a:lnTo>
                    <a:lnTo>
                      <a:pt x="317601" y="584200"/>
                    </a:lnTo>
                    <a:lnTo>
                      <a:pt x="861187" y="584200"/>
                    </a:lnTo>
                    <a:lnTo>
                      <a:pt x="895604" y="622300"/>
                    </a:lnTo>
                    <a:lnTo>
                      <a:pt x="905916" y="647700"/>
                    </a:lnTo>
                    <a:lnTo>
                      <a:pt x="905916" y="660400"/>
                    </a:lnTo>
                    <a:lnTo>
                      <a:pt x="903033" y="685800"/>
                    </a:lnTo>
                    <a:lnTo>
                      <a:pt x="895604" y="698500"/>
                    </a:lnTo>
                    <a:lnTo>
                      <a:pt x="885469" y="698500"/>
                    </a:lnTo>
                    <a:lnTo>
                      <a:pt x="874483" y="711200"/>
                    </a:lnTo>
                    <a:lnTo>
                      <a:pt x="861187" y="723900"/>
                    </a:lnTo>
                    <a:lnTo>
                      <a:pt x="844194" y="736600"/>
                    </a:lnTo>
                    <a:lnTo>
                      <a:pt x="480136" y="736600"/>
                    </a:lnTo>
                    <a:lnTo>
                      <a:pt x="452272" y="749300"/>
                    </a:lnTo>
                    <a:lnTo>
                      <a:pt x="426910" y="762000"/>
                    </a:lnTo>
                    <a:lnTo>
                      <a:pt x="404063" y="787400"/>
                    </a:lnTo>
                    <a:lnTo>
                      <a:pt x="385140" y="800100"/>
                    </a:lnTo>
                    <a:lnTo>
                      <a:pt x="371640" y="825500"/>
                    </a:lnTo>
                    <a:lnTo>
                      <a:pt x="363537" y="863600"/>
                    </a:lnTo>
                    <a:lnTo>
                      <a:pt x="360832" y="889000"/>
                    </a:lnTo>
                    <a:lnTo>
                      <a:pt x="363537" y="914400"/>
                    </a:lnTo>
                    <a:lnTo>
                      <a:pt x="371640" y="952500"/>
                    </a:lnTo>
                    <a:lnTo>
                      <a:pt x="385140" y="977900"/>
                    </a:lnTo>
                    <a:lnTo>
                      <a:pt x="404063" y="990600"/>
                    </a:lnTo>
                    <a:lnTo>
                      <a:pt x="426910" y="1016000"/>
                    </a:lnTo>
                    <a:lnTo>
                      <a:pt x="452272" y="1028700"/>
                    </a:lnTo>
                    <a:lnTo>
                      <a:pt x="480136" y="1041400"/>
                    </a:lnTo>
                    <a:lnTo>
                      <a:pt x="863155" y="1041400"/>
                    </a:lnTo>
                    <a:lnTo>
                      <a:pt x="884453" y="1054100"/>
                    </a:lnTo>
                    <a:lnTo>
                      <a:pt x="899934" y="1066800"/>
                    </a:lnTo>
                    <a:lnTo>
                      <a:pt x="905916" y="1092200"/>
                    </a:lnTo>
                    <a:lnTo>
                      <a:pt x="905916" y="1130300"/>
                    </a:lnTo>
                    <a:lnTo>
                      <a:pt x="899934" y="1155700"/>
                    </a:lnTo>
                    <a:lnTo>
                      <a:pt x="884453" y="1168400"/>
                    </a:lnTo>
                    <a:lnTo>
                      <a:pt x="863155" y="1181100"/>
                    </a:lnTo>
                    <a:lnTo>
                      <a:pt x="344208" y="1181100"/>
                    </a:lnTo>
                    <a:lnTo>
                      <a:pt x="313753" y="1193800"/>
                    </a:lnTo>
                    <a:lnTo>
                      <a:pt x="285584" y="1193800"/>
                    </a:lnTo>
                    <a:lnTo>
                      <a:pt x="259715" y="1206500"/>
                    </a:lnTo>
                    <a:lnTo>
                      <a:pt x="236131" y="1231900"/>
                    </a:lnTo>
                    <a:lnTo>
                      <a:pt x="216484" y="1244600"/>
                    </a:lnTo>
                    <a:lnTo>
                      <a:pt x="202450" y="1270000"/>
                    </a:lnTo>
                    <a:lnTo>
                      <a:pt x="194030" y="1308100"/>
                    </a:lnTo>
                    <a:lnTo>
                      <a:pt x="191223" y="1333500"/>
                    </a:lnTo>
                    <a:lnTo>
                      <a:pt x="194030" y="1358900"/>
                    </a:lnTo>
                    <a:lnTo>
                      <a:pt x="202450" y="1397000"/>
                    </a:lnTo>
                    <a:lnTo>
                      <a:pt x="236131" y="1447800"/>
                    </a:lnTo>
                    <a:lnTo>
                      <a:pt x="285584" y="1473200"/>
                    </a:lnTo>
                    <a:lnTo>
                      <a:pt x="313753" y="1485900"/>
                    </a:lnTo>
                    <a:lnTo>
                      <a:pt x="862914" y="1485900"/>
                    </a:lnTo>
                    <a:lnTo>
                      <a:pt x="874191" y="1498600"/>
                    </a:lnTo>
                    <a:lnTo>
                      <a:pt x="882802" y="1498600"/>
                    </a:lnTo>
                    <a:lnTo>
                      <a:pt x="890130" y="1511300"/>
                    </a:lnTo>
                    <a:lnTo>
                      <a:pt x="897674" y="1511300"/>
                    </a:lnTo>
                    <a:lnTo>
                      <a:pt x="903554" y="1524000"/>
                    </a:lnTo>
                    <a:lnTo>
                      <a:pt x="905916" y="1524000"/>
                    </a:lnTo>
                    <a:lnTo>
                      <a:pt x="905916" y="1574800"/>
                    </a:lnTo>
                    <a:lnTo>
                      <a:pt x="903554" y="1587500"/>
                    </a:lnTo>
                    <a:lnTo>
                      <a:pt x="897674" y="1587500"/>
                    </a:lnTo>
                    <a:lnTo>
                      <a:pt x="890130" y="1600200"/>
                    </a:lnTo>
                    <a:lnTo>
                      <a:pt x="882802" y="1612900"/>
                    </a:lnTo>
                    <a:lnTo>
                      <a:pt x="874191" y="1612900"/>
                    </a:lnTo>
                    <a:lnTo>
                      <a:pt x="862914" y="1625600"/>
                    </a:lnTo>
                    <a:lnTo>
                      <a:pt x="480136" y="1625600"/>
                    </a:lnTo>
                    <a:lnTo>
                      <a:pt x="452272" y="1638300"/>
                    </a:lnTo>
                    <a:lnTo>
                      <a:pt x="404063" y="1663700"/>
                    </a:lnTo>
                    <a:lnTo>
                      <a:pt x="371640" y="1714500"/>
                    </a:lnTo>
                    <a:lnTo>
                      <a:pt x="360832" y="1765300"/>
                    </a:lnTo>
                    <a:lnTo>
                      <a:pt x="363537" y="1790700"/>
                    </a:lnTo>
                    <a:lnTo>
                      <a:pt x="385140" y="1841500"/>
                    </a:lnTo>
                    <a:lnTo>
                      <a:pt x="426910" y="1879600"/>
                    </a:lnTo>
                    <a:lnTo>
                      <a:pt x="452272" y="1892300"/>
                    </a:lnTo>
                    <a:lnTo>
                      <a:pt x="480136" y="1892300"/>
                    </a:lnTo>
                    <a:lnTo>
                      <a:pt x="510489" y="1905000"/>
                    </a:lnTo>
                    <a:lnTo>
                      <a:pt x="773595" y="1905000"/>
                    </a:lnTo>
                    <a:lnTo>
                      <a:pt x="803465" y="1917700"/>
                    </a:lnTo>
                    <a:lnTo>
                      <a:pt x="831049" y="1930400"/>
                    </a:lnTo>
                    <a:lnTo>
                      <a:pt x="854532" y="1955800"/>
                    </a:lnTo>
                    <a:lnTo>
                      <a:pt x="874242" y="1968500"/>
                    </a:lnTo>
                    <a:lnTo>
                      <a:pt x="890612" y="2006600"/>
                    </a:lnTo>
                    <a:lnTo>
                      <a:pt x="901788" y="2032000"/>
                    </a:lnTo>
                    <a:lnTo>
                      <a:pt x="905916" y="2057400"/>
                    </a:lnTo>
                    <a:lnTo>
                      <a:pt x="905916" y="2349500"/>
                    </a:lnTo>
                    <a:lnTo>
                      <a:pt x="900430" y="2387600"/>
                    </a:lnTo>
                    <a:lnTo>
                      <a:pt x="885202" y="2425700"/>
                    </a:lnTo>
                    <a:lnTo>
                      <a:pt x="862076" y="2451100"/>
                    </a:lnTo>
                    <a:lnTo>
                      <a:pt x="832916" y="2463800"/>
                    </a:lnTo>
                    <a:lnTo>
                      <a:pt x="797433" y="2489200"/>
                    </a:lnTo>
                    <a:lnTo>
                      <a:pt x="725881" y="2489200"/>
                    </a:lnTo>
                    <a:lnTo>
                      <a:pt x="691654" y="2476500"/>
                    </a:lnTo>
                    <a:lnTo>
                      <a:pt x="673684" y="2476500"/>
                    </a:lnTo>
                    <a:lnTo>
                      <a:pt x="654888" y="2463800"/>
                    </a:lnTo>
                    <a:lnTo>
                      <a:pt x="648131" y="2463800"/>
                    </a:lnTo>
                    <a:lnTo>
                      <a:pt x="641413" y="2451100"/>
                    </a:lnTo>
                    <a:lnTo>
                      <a:pt x="625944" y="2451100"/>
                    </a:lnTo>
                    <a:lnTo>
                      <a:pt x="620864" y="2438400"/>
                    </a:lnTo>
                    <a:lnTo>
                      <a:pt x="610730" y="2438400"/>
                    </a:lnTo>
                    <a:lnTo>
                      <a:pt x="605624" y="2425700"/>
                    </a:lnTo>
                    <a:lnTo>
                      <a:pt x="600583" y="2425700"/>
                    </a:lnTo>
                    <a:lnTo>
                      <a:pt x="583819" y="2400300"/>
                    </a:lnTo>
                    <a:lnTo>
                      <a:pt x="570141" y="2387600"/>
                    </a:lnTo>
                    <a:lnTo>
                      <a:pt x="559600" y="2362200"/>
                    </a:lnTo>
                    <a:lnTo>
                      <a:pt x="552208" y="2349500"/>
                    </a:lnTo>
                    <a:lnTo>
                      <a:pt x="548132" y="2324100"/>
                    </a:lnTo>
                    <a:lnTo>
                      <a:pt x="547585" y="2298700"/>
                    </a:lnTo>
                    <a:lnTo>
                      <a:pt x="550583" y="2273300"/>
                    </a:lnTo>
                    <a:lnTo>
                      <a:pt x="557136" y="2247900"/>
                    </a:lnTo>
                    <a:lnTo>
                      <a:pt x="577037" y="2197100"/>
                    </a:lnTo>
                    <a:lnTo>
                      <a:pt x="583996" y="2171700"/>
                    </a:lnTo>
                    <a:lnTo>
                      <a:pt x="584923" y="2133600"/>
                    </a:lnTo>
                    <a:lnTo>
                      <a:pt x="568718" y="2082800"/>
                    </a:lnTo>
                    <a:lnTo>
                      <a:pt x="533361" y="2032000"/>
                    </a:lnTo>
                    <a:lnTo>
                      <a:pt x="483895" y="2006600"/>
                    </a:lnTo>
                    <a:lnTo>
                      <a:pt x="454164" y="2006600"/>
                    </a:lnTo>
                    <a:lnTo>
                      <a:pt x="424853" y="1993900"/>
                    </a:lnTo>
                    <a:lnTo>
                      <a:pt x="367487" y="2019300"/>
                    </a:lnTo>
                    <a:lnTo>
                      <a:pt x="341693" y="2032000"/>
                    </a:lnTo>
                    <a:lnTo>
                      <a:pt x="320903" y="2057400"/>
                    </a:lnTo>
                    <a:lnTo>
                      <a:pt x="305117" y="2070100"/>
                    </a:lnTo>
                    <a:lnTo>
                      <a:pt x="294322" y="2108200"/>
                    </a:lnTo>
                    <a:lnTo>
                      <a:pt x="277164" y="2159000"/>
                    </a:lnTo>
                    <a:lnTo>
                      <a:pt x="257606" y="2209800"/>
                    </a:lnTo>
                    <a:lnTo>
                      <a:pt x="235661" y="2247900"/>
                    </a:lnTo>
                    <a:lnTo>
                      <a:pt x="211315" y="2298700"/>
                    </a:lnTo>
                    <a:lnTo>
                      <a:pt x="184581" y="2349500"/>
                    </a:lnTo>
                    <a:lnTo>
                      <a:pt x="158369" y="2387600"/>
                    </a:lnTo>
                    <a:lnTo>
                      <a:pt x="130289" y="2438400"/>
                    </a:lnTo>
                    <a:lnTo>
                      <a:pt x="100368" y="2476500"/>
                    </a:lnTo>
                    <a:lnTo>
                      <a:pt x="68567" y="2527300"/>
                    </a:lnTo>
                    <a:lnTo>
                      <a:pt x="34925" y="2565400"/>
                    </a:lnTo>
                    <a:lnTo>
                      <a:pt x="17767" y="2590800"/>
                    </a:lnTo>
                    <a:lnTo>
                      <a:pt x="6235" y="2616200"/>
                    </a:lnTo>
                    <a:lnTo>
                      <a:pt x="317" y="2654300"/>
                    </a:lnTo>
                    <a:lnTo>
                      <a:pt x="0" y="2679700"/>
                    </a:lnTo>
                    <a:lnTo>
                      <a:pt x="5092" y="2705100"/>
                    </a:lnTo>
                    <a:lnTo>
                      <a:pt x="30861" y="2755900"/>
                    </a:lnTo>
                    <a:lnTo>
                      <a:pt x="75869" y="2794000"/>
                    </a:lnTo>
                    <a:lnTo>
                      <a:pt x="102260" y="2806700"/>
                    </a:lnTo>
                    <a:lnTo>
                      <a:pt x="191211" y="2806700"/>
                    </a:lnTo>
                    <a:lnTo>
                      <a:pt x="217805" y="2794000"/>
                    </a:lnTo>
                    <a:lnTo>
                      <a:pt x="241096" y="2781300"/>
                    </a:lnTo>
                    <a:lnTo>
                      <a:pt x="261086" y="2755900"/>
                    </a:lnTo>
                    <a:lnTo>
                      <a:pt x="300977" y="2717800"/>
                    </a:lnTo>
                    <a:lnTo>
                      <a:pt x="315417" y="2692400"/>
                    </a:lnTo>
                    <a:lnTo>
                      <a:pt x="332143" y="2679700"/>
                    </a:lnTo>
                    <a:lnTo>
                      <a:pt x="351167" y="2679700"/>
                    </a:lnTo>
                    <a:lnTo>
                      <a:pt x="372465" y="2667000"/>
                    </a:lnTo>
                    <a:lnTo>
                      <a:pt x="415277" y="2667000"/>
                    </a:lnTo>
                    <a:lnTo>
                      <a:pt x="435140" y="2679700"/>
                    </a:lnTo>
                    <a:lnTo>
                      <a:pt x="453961" y="2692400"/>
                    </a:lnTo>
                    <a:lnTo>
                      <a:pt x="477240" y="2705100"/>
                    </a:lnTo>
                    <a:lnTo>
                      <a:pt x="518896" y="2730500"/>
                    </a:lnTo>
                    <a:lnTo>
                      <a:pt x="562190" y="2755900"/>
                    </a:lnTo>
                    <a:lnTo>
                      <a:pt x="653681" y="2781300"/>
                    </a:lnTo>
                    <a:lnTo>
                      <a:pt x="751700" y="2806700"/>
                    </a:lnTo>
                    <a:lnTo>
                      <a:pt x="1810829" y="2806700"/>
                    </a:lnTo>
                    <a:lnTo>
                      <a:pt x="1839709" y="2794000"/>
                    </a:lnTo>
                    <a:lnTo>
                      <a:pt x="1866519" y="2794000"/>
                    </a:lnTo>
                    <a:lnTo>
                      <a:pt x="1891245" y="2781300"/>
                    </a:lnTo>
                    <a:lnTo>
                      <a:pt x="1913915" y="2755900"/>
                    </a:lnTo>
                    <a:lnTo>
                      <a:pt x="1932813" y="2743200"/>
                    </a:lnTo>
                    <a:lnTo>
                      <a:pt x="1946325" y="2717800"/>
                    </a:lnTo>
                    <a:lnTo>
                      <a:pt x="1954428" y="2679700"/>
                    </a:lnTo>
                    <a:lnTo>
                      <a:pt x="1955787" y="2667000"/>
                    </a:lnTo>
                    <a:lnTo>
                      <a:pt x="1957133" y="2654300"/>
                    </a:lnTo>
                    <a:lnTo>
                      <a:pt x="1954428" y="2628900"/>
                    </a:lnTo>
                    <a:lnTo>
                      <a:pt x="1932813" y="2578100"/>
                    </a:lnTo>
                    <a:lnTo>
                      <a:pt x="1891245" y="2527300"/>
                    </a:lnTo>
                    <a:lnTo>
                      <a:pt x="1866519" y="2514600"/>
                    </a:lnTo>
                    <a:lnTo>
                      <a:pt x="1839709" y="2514600"/>
                    </a:lnTo>
                    <a:lnTo>
                      <a:pt x="1810829" y="2501900"/>
                    </a:lnTo>
                    <a:lnTo>
                      <a:pt x="1275181" y="2501900"/>
                    </a:lnTo>
                    <a:lnTo>
                      <a:pt x="1252270" y="2489200"/>
                    </a:lnTo>
                    <a:lnTo>
                      <a:pt x="1213319" y="2438400"/>
                    </a:lnTo>
                    <a:lnTo>
                      <a:pt x="1195146" y="2387600"/>
                    </a:lnTo>
                    <a:lnTo>
                      <a:pt x="1193139" y="2362200"/>
                    </a:lnTo>
                    <a:lnTo>
                      <a:pt x="1193139" y="2057400"/>
                    </a:lnTo>
                    <a:lnTo>
                      <a:pt x="1195146" y="2032000"/>
                    </a:lnTo>
                    <a:lnTo>
                      <a:pt x="1201635" y="2006600"/>
                    </a:lnTo>
                    <a:lnTo>
                      <a:pt x="1213319" y="1968500"/>
                    </a:lnTo>
                    <a:lnTo>
                      <a:pt x="1230934" y="1955800"/>
                    </a:lnTo>
                    <a:lnTo>
                      <a:pt x="1252270" y="1930400"/>
                    </a:lnTo>
                    <a:lnTo>
                      <a:pt x="1275181" y="1917700"/>
                    </a:lnTo>
                    <a:lnTo>
                      <a:pt x="1300391" y="1905000"/>
                    </a:lnTo>
                    <a:lnTo>
                      <a:pt x="1451648" y="1905000"/>
                    </a:lnTo>
                    <a:lnTo>
                      <a:pt x="1500174" y="1892300"/>
                    </a:lnTo>
                    <a:lnTo>
                      <a:pt x="1544942" y="1892300"/>
                    </a:lnTo>
                    <a:lnTo>
                      <a:pt x="1586318" y="1879600"/>
                    </a:lnTo>
                    <a:lnTo>
                      <a:pt x="1624698" y="1854200"/>
                    </a:lnTo>
                    <a:lnTo>
                      <a:pt x="1660486" y="1816100"/>
                    </a:lnTo>
                    <a:lnTo>
                      <a:pt x="1691195" y="1790700"/>
                    </a:lnTo>
                    <a:lnTo>
                      <a:pt x="1714411" y="1752600"/>
                    </a:lnTo>
                    <a:lnTo>
                      <a:pt x="1730527" y="1714500"/>
                    </a:lnTo>
                    <a:lnTo>
                      <a:pt x="1739912" y="1663700"/>
                    </a:lnTo>
                    <a:lnTo>
                      <a:pt x="1742960" y="1612900"/>
                    </a:lnTo>
                    <a:lnTo>
                      <a:pt x="1742960" y="1600200"/>
                    </a:lnTo>
                    <a:lnTo>
                      <a:pt x="1745869" y="1574800"/>
                    </a:lnTo>
                    <a:lnTo>
                      <a:pt x="1754098" y="1562100"/>
                    </a:lnTo>
                    <a:lnTo>
                      <a:pt x="1766900" y="1536700"/>
                    </a:lnTo>
                    <a:lnTo>
                      <a:pt x="1783549" y="1524000"/>
                    </a:lnTo>
                    <a:lnTo>
                      <a:pt x="1803488" y="1511300"/>
                    </a:lnTo>
                    <a:lnTo>
                      <a:pt x="1826272" y="1498600"/>
                    </a:lnTo>
                    <a:lnTo>
                      <a:pt x="1851126" y="1485900"/>
                    </a:lnTo>
                    <a:lnTo>
                      <a:pt x="1911083" y="1485900"/>
                    </a:lnTo>
                    <a:lnTo>
                      <a:pt x="1939251" y="1473200"/>
                    </a:lnTo>
                    <a:lnTo>
                      <a:pt x="1965147" y="1460500"/>
                    </a:lnTo>
                    <a:lnTo>
                      <a:pt x="1988743" y="1435100"/>
                    </a:lnTo>
                    <a:lnTo>
                      <a:pt x="2008390" y="1422400"/>
                    </a:lnTo>
                    <a:lnTo>
                      <a:pt x="2022411" y="1397000"/>
                    </a:lnTo>
                    <a:lnTo>
                      <a:pt x="2030831" y="1358900"/>
                    </a:lnTo>
                    <a:lnTo>
                      <a:pt x="2033638" y="13335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2" name="object 9"/>
              <p:cNvSpPr>
                <a:spLocks noChangeArrowheads="1"/>
              </p:cNvSpPr>
              <p:nvPr userDrawn="1"/>
            </p:nvSpPr>
            <p:spPr bwMode="auto">
              <a:xfrm>
                <a:off x="8697913" y="7029450"/>
                <a:ext cx="1306512" cy="912813"/>
              </a:xfrm>
              <a:custGeom>
                <a:avLst/>
                <a:gdLst>
                  <a:gd name="T0" fmla="*/ 353193 w 1306195"/>
                  <a:gd name="T1" fmla="*/ 0 h 913765"/>
                  <a:gd name="T2" fmla="*/ 249188 w 1306195"/>
                  <a:gd name="T3" fmla="*/ 15359 h 913765"/>
                  <a:gd name="T4" fmla="*/ 128468 w 1306195"/>
                  <a:gd name="T5" fmla="*/ 80137 h 913765"/>
                  <a:gd name="T6" fmla="*/ 42341 w 1306195"/>
                  <a:gd name="T7" fmla="*/ 184724 h 913765"/>
                  <a:gd name="T8" fmla="*/ 1708 w 1306195"/>
                  <a:gd name="T9" fmla="*/ 317007 h 913765"/>
                  <a:gd name="T10" fmla="*/ 2168 w 1306195"/>
                  <a:gd name="T11" fmla="*/ 820758 h 913765"/>
                  <a:gd name="T12" fmla="*/ 52892 w 1306195"/>
                  <a:gd name="T13" fmla="*/ 894767 h 913765"/>
                  <a:gd name="T14" fmla="*/ 116677 w 1306195"/>
                  <a:gd name="T15" fmla="*/ 913616 h 913765"/>
                  <a:gd name="T16" fmla="*/ 182767 w 1306195"/>
                  <a:gd name="T17" fmla="*/ 894767 h 913765"/>
                  <a:gd name="T18" fmla="*/ 233673 w 1306195"/>
                  <a:gd name="T19" fmla="*/ 820758 h 913765"/>
                  <a:gd name="T20" fmla="*/ 238871 w 1306195"/>
                  <a:gd name="T21" fmla="*/ 367350 h 913765"/>
                  <a:gd name="T22" fmla="*/ 309626 w 1306195"/>
                  <a:gd name="T23" fmla="*/ 263079 h 913765"/>
                  <a:gd name="T24" fmla="*/ 399705 w 1306195"/>
                  <a:gd name="T25" fmla="*/ 235846 h 913765"/>
                  <a:gd name="T26" fmla="*/ 1278495 w 1306195"/>
                  <a:gd name="T27" fmla="*/ 215982 h 913765"/>
                  <a:gd name="T28" fmla="*/ 1203890 w 1306195"/>
                  <a:gd name="T29" fmla="*/ 103023 h 913765"/>
                  <a:gd name="T30" fmla="*/ 1091935 w 1306195"/>
                  <a:gd name="T31" fmla="*/ 27297 h 913765"/>
                  <a:gd name="T32" fmla="*/ 990751 w 1306195"/>
                  <a:gd name="T33" fmla="*/ 1707 h 913765"/>
                  <a:gd name="T34" fmla="*/ 652943 w 1306195"/>
                  <a:gd name="T35" fmla="*/ 297917 h 913765"/>
                  <a:gd name="T36" fmla="*/ 568516 w 1306195"/>
                  <a:gd name="T37" fmla="*/ 332670 h 913765"/>
                  <a:gd name="T38" fmla="*/ 533774 w 1306195"/>
                  <a:gd name="T39" fmla="*/ 417086 h 913765"/>
                  <a:gd name="T40" fmla="*/ 542452 w 1306195"/>
                  <a:gd name="T41" fmla="*/ 842558 h 913765"/>
                  <a:gd name="T42" fmla="*/ 606988 w 1306195"/>
                  <a:gd name="T43" fmla="*/ 905240 h 913765"/>
                  <a:gd name="T44" fmla="*/ 676749 w 1306195"/>
                  <a:gd name="T45" fmla="*/ 911522 h 913765"/>
                  <a:gd name="T46" fmla="*/ 750773 w 1306195"/>
                  <a:gd name="T47" fmla="*/ 862335 h 913765"/>
                  <a:gd name="T48" fmla="*/ 769631 w 1306195"/>
                  <a:gd name="T49" fmla="*/ 796928 h 913765"/>
                  <a:gd name="T50" fmla="*/ 761247 w 1306195"/>
                  <a:gd name="T51" fmla="*/ 371168 h 913765"/>
                  <a:gd name="T52" fmla="*/ 698549 w 1306195"/>
                  <a:gd name="T53" fmla="*/ 306608 h 913765"/>
                  <a:gd name="T54" fmla="*/ 1285757 w 1306195"/>
                  <a:gd name="T55" fmla="*/ 235846 h 913765"/>
                  <a:gd name="T56" fmla="*/ 938524 w 1306195"/>
                  <a:gd name="T57" fmla="*/ 238871 h 913765"/>
                  <a:gd name="T58" fmla="*/ 1021612 w 1306195"/>
                  <a:gd name="T59" fmla="*/ 284263 h 913765"/>
                  <a:gd name="T60" fmla="*/ 1070019 w 1306195"/>
                  <a:gd name="T61" fmla="*/ 399705 h 913765"/>
                  <a:gd name="T62" fmla="*/ 1072137 w 1306195"/>
                  <a:gd name="T63" fmla="*/ 820758 h 913765"/>
                  <a:gd name="T64" fmla="*/ 1121842 w 1306195"/>
                  <a:gd name="T65" fmla="*/ 894767 h 913765"/>
                  <a:gd name="T66" fmla="*/ 1187963 w 1306195"/>
                  <a:gd name="T67" fmla="*/ 913616 h 913765"/>
                  <a:gd name="T68" fmla="*/ 1254061 w 1306195"/>
                  <a:gd name="T69" fmla="*/ 894767 h 913765"/>
                  <a:gd name="T70" fmla="*/ 1303768 w 1306195"/>
                  <a:gd name="T71" fmla="*/ 820758 h 913765"/>
                  <a:gd name="T72" fmla="*/ 1305812 w 1306195"/>
                  <a:gd name="T73" fmla="*/ 350992 h 913765"/>
                  <a:gd name="T74" fmla="*/ 1299031 w 1306195"/>
                  <a:gd name="T75" fmla="*/ 282408 h 913765"/>
                  <a:gd name="T76" fmla="*/ 1285757 w 1306195"/>
                  <a:gd name="T77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06195" h="913765">
                    <a:moveTo>
                      <a:pt x="955175" y="0"/>
                    </a:moveTo>
                    <a:lnTo>
                      <a:pt x="353193" y="0"/>
                    </a:lnTo>
                    <a:lnTo>
                      <a:pt x="317588" y="1707"/>
                    </a:lnTo>
                    <a:lnTo>
                      <a:pt x="249188" y="15359"/>
                    </a:lnTo>
                    <a:lnTo>
                      <a:pt x="185044" y="42285"/>
                    </a:lnTo>
                    <a:lnTo>
                      <a:pt x="128468" y="80137"/>
                    </a:lnTo>
                    <a:lnTo>
                      <a:pt x="80280" y="128238"/>
                    </a:lnTo>
                    <a:lnTo>
                      <a:pt x="42341" y="184724"/>
                    </a:lnTo>
                    <a:lnTo>
                      <a:pt x="15376" y="248735"/>
                    </a:lnTo>
                    <a:lnTo>
                      <a:pt x="1708" y="317007"/>
                    </a:lnTo>
                    <a:lnTo>
                      <a:pt x="0" y="796928"/>
                    </a:lnTo>
                    <a:lnTo>
                      <a:pt x="2168" y="820758"/>
                    </a:lnTo>
                    <a:lnTo>
                      <a:pt x="19533" y="862335"/>
                    </a:lnTo>
                    <a:lnTo>
                      <a:pt x="52892" y="894767"/>
                    </a:lnTo>
                    <a:lnTo>
                      <a:pt x="93861" y="911522"/>
                    </a:lnTo>
                    <a:lnTo>
                      <a:pt x="116677" y="913616"/>
                    </a:lnTo>
                    <a:lnTo>
                      <a:pt x="140563" y="911522"/>
                    </a:lnTo>
                    <a:lnTo>
                      <a:pt x="182767" y="894767"/>
                    </a:lnTo>
                    <a:lnTo>
                      <a:pt x="216294" y="862335"/>
                    </a:lnTo>
                    <a:lnTo>
                      <a:pt x="233673" y="820758"/>
                    </a:lnTo>
                    <a:lnTo>
                      <a:pt x="235846" y="399705"/>
                    </a:lnTo>
                    <a:lnTo>
                      <a:pt x="238871" y="367350"/>
                    </a:lnTo>
                    <a:lnTo>
                      <a:pt x="263075" y="309626"/>
                    </a:lnTo>
                    <a:lnTo>
                      <a:pt x="309626" y="263079"/>
                    </a:lnTo>
                    <a:lnTo>
                      <a:pt x="367351" y="238871"/>
                    </a:lnTo>
                    <a:lnTo>
                      <a:pt x="399705" y="235846"/>
                    </a:lnTo>
                    <a:lnTo>
                      <a:pt x="1285757" y="235846"/>
                    </a:lnTo>
                    <a:lnTo>
                      <a:pt x="1278495" y="215982"/>
                    </a:lnTo>
                    <a:lnTo>
                      <a:pt x="1246171" y="155474"/>
                    </a:lnTo>
                    <a:lnTo>
                      <a:pt x="1203890" y="103023"/>
                    </a:lnTo>
                    <a:lnTo>
                      <a:pt x="1152282" y="59894"/>
                    </a:lnTo>
                    <a:lnTo>
                      <a:pt x="1091935" y="27297"/>
                    </a:lnTo>
                    <a:lnTo>
                      <a:pt x="1025404" y="6828"/>
                    </a:lnTo>
                    <a:lnTo>
                      <a:pt x="990751" y="1707"/>
                    </a:lnTo>
                    <a:lnTo>
                      <a:pt x="955175" y="0"/>
                    </a:lnTo>
                    <a:close/>
                  </a:path>
                  <a:path w="1306195" h="913765">
                    <a:moveTo>
                      <a:pt x="652943" y="297917"/>
                    </a:moveTo>
                    <a:lnTo>
                      <a:pt x="606988" y="306608"/>
                    </a:lnTo>
                    <a:lnTo>
                      <a:pt x="568516" y="332670"/>
                    </a:lnTo>
                    <a:lnTo>
                      <a:pt x="542452" y="371168"/>
                    </a:lnTo>
                    <a:lnTo>
                      <a:pt x="533774" y="417086"/>
                    </a:lnTo>
                    <a:lnTo>
                      <a:pt x="533774" y="796928"/>
                    </a:lnTo>
                    <a:lnTo>
                      <a:pt x="542452" y="842558"/>
                    </a:lnTo>
                    <a:lnTo>
                      <a:pt x="568516" y="880098"/>
                    </a:lnTo>
                    <a:lnTo>
                      <a:pt x="606988" y="905240"/>
                    </a:lnTo>
                    <a:lnTo>
                      <a:pt x="652943" y="913616"/>
                    </a:lnTo>
                    <a:lnTo>
                      <a:pt x="676749" y="911522"/>
                    </a:lnTo>
                    <a:lnTo>
                      <a:pt x="718338" y="894767"/>
                    </a:lnTo>
                    <a:lnTo>
                      <a:pt x="750773" y="862335"/>
                    </a:lnTo>
                    <a:lnTo>
                      <a:pt x="767534" y="820758"/>
                    </a:lnTo>
                    <a:lnTo>
                      <a:pt x="769631" y="796928"/>
                    </a:lnTo>
                    <a:lnTo>
                      <a:pt x="769631" y="417086"/>
                    </a:lnTo>
                    <a:lnTo>
                      <a:pt x="761247" y="371168"/>
                    </a:lnTo>
                    <a:lnTo>
                      <a:pt x="736113" y="332670"/>
                    </a:lnTo>
                    <a:lnTo>
                      <a:pt x="698549" y="306608"/>
                    </a:lnTo>
                    <a:lnTo>
                      <a:pt x="652943" y="297917"/>
                    </a:lnTo>
                    <a:close/>
                  </a:path>
                  <a:path w="1306195" h="913765">
                    <a:moveTo>
                      <a:pt x="1285757" y="235846"/>
                    </a:moveTo>
                    <a:lnTo>
                      <a:pt x="906171" y="235846"/>
                    </a:lnTo>
                    <a:lnTo>
                      <a:pt x="938524" y="238871"/>
                    </a:lnTo>
                    <a:lnTo>
                      <a:pt x="968549" y="247949"/>
                    </a:lnTo>
                    <a:lnTo>
                      <a:pt x="1021612" y="284263"/>
                    </a:lnTo>
                    <a:lnTo>
                      <a:pt x="1057921" y="337323"/>
                    </a:lnTo>
                    <a:lnTo>
                      <a:pt x="1070019" y="399705"/>
                    </a:lnTo>
                    <a:lnTo>
                      <a:pt x="1070019" y="796928"/>
                    </a:lnTo>
                    <a:lnTo>
                      <a:pt x="1072137" y="820758"/>
                    </a:lnTo>
                    <a:lnTo>
                      <a:pt x="1089076" y="862335"/>
                    </a:lnTo>
                    <a:lnTo>
                      <a:pt x="1121842" y="894767"/>
                    </a:lnTo>
                    <a:lnTo>
                      <a:pt x="1163871" y="911522"/>
                    </a:lnTo>
                    <a:lnTo>
                      <a:pt x="1187963" y="913616"/>
                    </a:lnTo>
                    <a:lnTo>
                      <a:pt x="1212023" y="911522"/>
                    </a:lnTo>
                    <a:lnTo>
                      <a:pt x="1254061" y="894767"/>
                    </a:lnTo>
                    <a:lnTo>
                      <a:pt x="1286830" y="862335"/>
                    </a:lnTo>
                    <a:lnTo>
                      <a:pt x="1303768" y="820758"/>
                    </a:lnTo>
                    <a:lnTo>
                      <a:pt x="1305886" y="796928"/>
                    </a:lnTo>
                    <a:lnTo>
                      <a:pt x="1305812" y="350992"/>
                    </a:lnTo>
                    <a:lnTo>
                      <a:pt x="1304172" y="317007"/>
                    </a:lnTo>
                    <a:lnTo>
                      <a:pt x="1299031" y="282408"/>
                    </a:lnTo>
                    <a:lnTo>
                      <a:pt x="1290470" y="248735"/>
                    </a:lnTo>
                    <a:lnTo>
                      <a:pt x="1285757" y="2358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3" name="object 10"/>
              <p:cNvSpPr>
                <a:spLocks noChangeArrowheads="1"/>
              </p:cNvSpPr>
              <p:nvPr userDrawn="1"/>
            </p:nvSpPr>
            <p:spPr bwMode="auto">
              <a:xfrm>
                <a:off x="10213975" y="7029450"/>
                <a:ext cx="1068388" cy="912813"/>
              </a:xfrm>
              <a:custGeom>
                <a:avLst/>
                <a:gdLst>
                  <a:gd name="T0" fmla="*/ 355842 w 1068070"/>
                  <a:gd name="T1" fmla="*/ 0 h 913765"/>
                  <a:gd name="T2" fmla="*/ 249469 w 1068070"/>
                  <a:gd name="T3" fmla="*/ 15359 h 913765"/>
                  <a:gd name="T4" fmla="*/ 128549 w 1068070"/>
                  <a:gd name="T5" fmla="*/ 80137 h 913765"/>
                  <a:gd name="T6" fmla="*/ 42358 w 1068070"/>
                  <a:gd name="T7" fmla="*/ 184724 h 913765"/>
                  <a:gd name="T8" fmla="*/ 1710 w 1068070"/>
                  <a:gd name="T9" fmla="*/ 317011 h 913765"/>
                  <a:gd name="T10" fmla="*/ 0 w 1068070"/>
                  <a:gd name="T11" fmla="*/ 561082 h 913765"/>
                  <a:gd name="T12" fmla="*/ 27360 w 1068070"/>
                  <a:gd name="T13" fmla="*/ 698868 h 913765"/>
                  <a:gd name="T14" fmla="*/ 103274 w 1068070"/>
                  <a:gd name="T15" fmla="*/ 810593 h 913765"/>
                  <a:gd name="T16" fmla="*/ 216496 w 1068070"/>
                  <a:gd name="T17" fmla="*/ 886308 h 913765"/>
                  <a:gd name="T18" fmla="*/ 355842 w 1068070"/>
                  <a:gd name="T19" fmla="*/ 913616 h 913765"/>
                  <a:gd name="T20" fmla="*/ 784500 w 1068070"/>
                  <a:gd name="T21" fmla="*/ 906802 h 913765"/>
                  <a:gd name="T22" fmla="*/ 911728 w 1068070"/>
                  <a:gd name="T23" fmla="*/ 853727 h 913765"/>
                  <a:gd name="T24" fmla="*/ 1007534 w 1068070"/>
                  <a:gd name="T25" fmla="*/ 758449 h 913765"/>
                  <a:gd name="T26" fmla="*/ 1047980 w 1068070"/>
                  <a:gd name="T27" fmla="*/ 677769 h 913765"/>
                  <a:gd name="T28" fmla="*/ 368753 w 1068070"/>
                  <a:gd name="T29" fmla="*/ 674822 h 913765"/>
                  <a:gd name="T30" fmla="*/ 263091 w 1068070"/>
                  <a:gd name="T31" fmla="*/ 605628 h 913765"/>
                  <a:gd name="T32" fmla="*/ 235867 w 1068070"/>
                  <a:gd name="T33" fmla="*/ 513911 h 913765"/>
                  <a:gd name="T34" fmla="*/ 247964 w 1068070"/>
                  <a:gd name="T35" fmla="*/ 337327 h 913765"/>
                  <a:gd name="T36" fmla="*/ 337954 w 1068070"/>
                  <a:gd name="T37" fmla="*/ 247953 h 913765"/>
                  <a:gd name="T38" fmla="*/ 1047433 w 1068070"/>
                  <a:gd name="T39" fmla="*/ 235846 h 913765"/>
                  <a:gd name="T40" fmla="*/ 1007534 w 1068070"/>
                  <a:gd name="T41" fmla="*/ 155474 h 913765"/>
                  <a:gd name="T42" fmla="*/ 911728 w 1068070"/>
                  <a:gd name="T43" fmla="*/ 59894 h 913765"/>
                  <a:gd name="T44" fmla="*/ 784500 w 1068070"/>
                  <a:gd name="T45" fmla="*/ 6828 h 913765"/>
                  <a:gd name="T46" fmla="*/ 714208 w 1068070"/>
                  <a:gd name="T47" fmla="*/ 0 h 913765"/>
                  <a:gd name="T48" fmla="*/ 665361 w 1068070"/>
                  <a:gd name="T49" fmla="*/ 235846 h 913765"/>
                  <a:gd name="T50" fmla="*/ 728048 w 1068070"/>
                  <a:gd name="T51" fmla="*/ 247953 h 913765"/>
                  <a:gd name="T52" fmla="*/ 819293 w 1068070"/>
                  <a:gd name="T53" fmla="*/ 337327 h 913765"/>
                  <a:gd name="T54" fmla="*/ 831712 w 1068070"/>
                  <a:gd name="T55" fmla="*/ 513911 h 913765"/>
                  <a:gd name="T56" fmla="*/ 782049 w 1068070"/>
                  <a:gd name="T57" fmla="*/ 630598 h 913765"/>
                  <a:gd name="T58" fmla="*/ 665361 w 1068070"/>
                  <a:gd name="T59" fmla="*/ 677769 h 913765"/>
                  <a:gd name="T60" fmla="*/ 1052142 w 1068070"/>
                  <a:gd name="T61" fmla="*/ 666515 h 913765"/>
                  <a:gd name="T62" fmla="*/ 1065842 w 1068070"/>
                  <a:gd name="T63" fmla="*/ 597623 h 913765"/>
                  <a:gd name="T64" fmla="*/ 1067559 w 1068070"/>
                  <a:gd name="T65" fmla="*/ 352533 h 913765"/>
                  <a:gd name="T66" fmla="*/ 1060700 w 1068070"/>
                  <a:gd name="T67" fmla="*/ 282412 h 913765"/>
                  <a:gd name="T68" fmla="*/ 1047433 w 1068070"/>
                  <a:gd name="T69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68070" h="913765">
                    <a:moveTo>
                      <a:pt x="714208" y="0"/>
                    </a:moveTo>
                    <a:lnTo>
                      <a:pt x="355842" y="0"/>
                    </a:lnTo>
                    <a:lnTo>
                      <a:pt x="319140" y="1707"/>
                    </a:lnTo>
                    <a:lnTo>
                      <a:pt x="249469" y="15359"/>
                    </a:lnTo>
                    <a:lnTo>
                      <a:pt x="185159" y="42285"/>
                    </a:lnTo>
                    <a:lnTo>
                      <a:pt x="128549" y="80137"/>
                    </a:lnTo>
                    <a:lnTo>
                      <a:pt x="80325" y="128238"/>
                    </a:lnTo>
                    <a:lnTo>
                      <a:pt x="42358" y="184724"/>
                    </a:lnTo>
                    <a:lnTo>
                      <a:pt x="15390" y="248736"/>
                    </a:lnTo>
                    <a:lnTo>
                      <a:pt x="1710" y="317011"/>
                    </a:lnTo>
                    <a:lnTo>
                      <a:pt x="0" y="352533"/>
                    </a:lnTo>
                    <a:lnTo>
                      <a:pt x="0" y="561082"/>
                    </a:lnTo>
                    <a:lnTo>
                      <a:pt x="6840" y="632767"/>
                    </a:lnTo>
                    <a:lnTo>
                      <a:pt x="27360" y="698868"/>
                    </a:lnTo>
                    <a:lnTo>
                      <a:pt x="60016" y="758449"/>
                    </a:lnTo>
                    <a:lnTo>
                      <a:pt x="103274" y="810593"/>
                    </a:lnTo>
                    <a:lnTo>
                      <a:pt x="155844" y="853727"/>
                    </a:lnTo>
                    <a:lnTo>
                      <a:pt x="216496" y="886308"/>
                    </a:lnTo>
                    <a:lnTo>
                      <a:pt x="283683" y="906802"/>
                    </a:lnTo>
                    <a:lnTo>
                      <a:pt x="355842" y="913616"/>
                    </a:lnTo>
                    <a:lnTo>
                      <a:pt x="714208" y="913616"/>
                    </a:lnTo>
                    <a:lnTo>
                      <a:pt x="784500" y="906802"/>
                    </a:lnTo>
                    <a:lnTo>
                      <a:pt x="851063" y="886308"/>
                    </a:lnTo>
                    <a:lnTo>
                      <a:pt x="911728" y="853727"/>
                    </a:lnTo>
                    <a:lnTo>
                      <a:pt x="964305" y="810593"/>
                    </a:lnTo>
                    <a:lnTo>
                      <a:pt x="1007534" y="758449"/>
                    </a:lnTo>
                    <a:lnTo>
                      <a:pt x="1040177" y="698868"/>
                    </a:lnTo>
                    <a:lnTo>
                      <a:pt x="1047980" y="677769"/>
                    </a:lnTo>
                    <a:lnTo>
                      <a:pt x="402197" y="677769"/>
                    </a:lnTo>
                    <a:lnTo>
                      <a:pt x="368753" y="674822"/>
                    </a:lnTo>
                    <a:lnTo>
                      <a:pt x="309795" y="651239"/>
                    </a:lnTo>
                    <a:lnTo>
                      <a:pt x="263091" y="605628"/>
                    </a:lnTo>
                    <a:lnTo>
                      <a:pt x="238891" y="547280"/>
                    </a:lnTo>
                    <a:lnTo>
                      <a:pt x="235867" y="513911"/>
                    </a:lnTo>
                    <a:lnTo>
                      <a:pt x="235867" y="399705"/>
                    </a:lnTo>
                    <a:lnTo>
                      <a:pt x="247964" y="337327"/>
                    </a:lnTo>
                    <a:lnTo>
                      <a:pt x="284274" y="284263"/>
                    </a:lnTo>
                    <a:lnTo>
                      <a:pt x="337954" y="247953"/>
                    </a:lnTo>
                    <a:lnTo>
                      <a:pt x="402197" y="235846"/>
                    </a:lnTo>
                    <a:lnTo>
                      <a:pt x="1047433" y="235846"/>
                    </a:lnTo>
                    <a:lnTo>
                      <a:pt x="1040177" y="215982"/>
                    </a:lnTo>
                    <a:lnTo>
                      <a:pt x="1007534" y="155474"/>
                    </a:lnTo>
                    <a:lnTo>
                      <a:pt x="964305" y="103023"/>
                    </a:lnTo>
                    <a:lnTo>
                      <a:pt x="911728" y="59894"/>
                    </a:lnTo>
                    <a:lnTo>
                      <a:pt x="851063" y="27297"/>
                    </a:lnTo>
                    <a:lnTo>
                      <a:pt x="784500" y="6828"/>
                    </a:lnTo>
                    <a:lnTo>
                      <a:pt x="749820" y="1707"/>
                    </a:lnTo>
                    <a:lnTo>
                      <a:pt x="714208" y="0"/>
                    </a:lnTo>
                    <a:close/>
                  </a:path>
                  <a:path w="1068070" h="913765">
                    <a:moveTo>
                      <a:pt x="1047433" y="235846"/>
                    </a:moveTo>
                    <a:lnTo>
                      <a:pt x="665361" y="235846"/>
                    </a:lnTo>
                    <a:lnTo>
                      <a:pt x="697794" y="238873"/>
                    </a:lnTo>
                    <a:lnTo>
                      <a:pt x="728048" y="247953"/>
                    </a:lnTo>
                    <a:lnTo>
                      <a:pt x="782049" y="284263"/>
                    </a:lnTo>
                    <a:lnTo>
                      <a:pt x="819293" y="337327"/>
                    </a:lnTo>
                    <a:lnTo>
                      <a:pt x="831712" y="399705"/>
                    </a:lnTo>
                    <a:lnTo>
                      <a:pt x="831712" y="513911"/>
                    </a:lnTo>
                    <a:lnTo>
                      <a:pt x="819293" y="577854"/>
                    </a:lnTo>
                    <a:lnTo>
                      <a:pt x="782049" y="630598"/>
                    </a:lnTo>
                    <a:lnTo>
                      <a:pt x="728048" y="665979"/>
                    </a:lnTo>
                    <a:lnTo>
                      <a:pt x="665361" y="677769"/>
                    </a:lnTo>
                    <a:lnTo>
                      <a:pt x="1047980" y="677769"/>
                    </a:lnTo>
                    <a:lnTo>
                      <a:pt x="1052142" y="666515"/>
                    </a:lnTo>
                    <a:lnTo>
                      <a:pt x="1060700" y="632767"/>
                    </a:lnTo>
                    <a:lnTo>
                      <a:pt x="1065842" y="597623"/>
                    </a:lnTo>
                    <a:lnTo>
                      <a:pt x="1067559" y="561082"/>
                    </a:lnTo>
                    <a:lnTo>
                      <a:pt x="1067559" y="352533"/>
                    </a:lnTo>
                    <a:lnTo>
                      <a:pt x="1065842" y="317011"/>
                    </a:lnTo>
                    <a:lnTo>
                      <a:pt x="1060700" y="282412"/>
                    </a:lnTo>
                    <a:lnTo>
                      <a:pt x="1052142" y="248736"/>
                    </a:lnTo>
                    <a:lnTo>
                      <a:pt x="1047433" y="2358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4" name="object 11"/>
              <p:cNvSpPr>
                <a:spLocks noChangeArrowheads="1"/>
              </p:cNvSpPr>
              <p:nvPr userDrawn="1"/>
            </p:nvSpPr>
            <p:spPr bwMode="auto">
              <a:xfrm>
                <a:off x="11460163" y="6557010"/>
                <a:ext cx="1555750" cy="1985963"/>
              </a:xfrm>
              <a:custGeom>
                <a:avLst/>
                <a:gdLst>
                  <a:gd name="T0" fmla="*/ 1097965 w 1554480"/>
                  <a:gd name="T1" fmla="*/ 751649 h 1986279"/>
                  <a:gd name="T2" fmla="*/ 1044575 w 1554480"/>
                  <a:gd name="T3" fmla="*/ 625030 h 1986279"/>
                  <a:gd name="T4" fmla="*/ 949007 w 1554480"/>
                  <a:gd name="T5" fmla="*/ 529450 h 1986279"/>
                  <a:gd name="T6" fmla="*/ 822375 w 1554480"/>
                  <a:gd name="T7" fmla="*/ 476072 h 1986279"/>
                  <a:gd name="T8" fmla="*/ 429514 w 1554480"/>
                  <a:gd name="T9" fmla="*/ 469239 h 1986279"/>
                  <a:gd name="T10" fmla="*/ 345109 w 1554480"/>
                  <a:gd name="T11" fmla="*/ 503986 h 1986279"/>
                  <a:gd name="T12" fmla="*/ 310349 w 1554480"/>
                  <a:gd name="T13" fmla="*/ 585914 h 1986279"/>
                  <a:gd name="T14" fmla="*/ 329882 w 1554480"/>
                  <a:gd name="T15" fmla="*/ 652030 h 1986279"/>
                  <a:gd name="T16" fmla="*/ 405599 w 1554480"/>
                  <a:gd name="T17" fmla="*/ 702919 h 1986279"/>
                  <a:gd name="T18" fmla="*/ 775055 w 1554480"/>
                  <a:gd name="T19" fmla="*/ 707263 h 1986279"/>
                  <a:gd name="T20" fmla="*/ 849388 w 1554480"/>
                  <a:gd name="T21" fmla="*/ 757072 h 1986279"/>
                  <a:gd name="T22" fmla="*/ 868946 w 1554480"/>
                  <a:gd name="T23" fmla="*/ 821766 h 1986279"/>
                  <a:gd name="T24" fmla="*/ 860247 w 1554480"/>
                  <a:gd name="T25" fmla="*/ 1078115 h 1986279"/>
                  <a:gd name="T26" fmla="*/ 796315 w 1554480"/>
                  <a:gd name="T27" fmla="*/ 1138326 h 1986279"/>
                  <a:gd name="T28" fmla="*/ 352539 w 1554480"/>
                  <a:gd name="T29" fmla="*/ 1147013 h 1986279"/>
                  <a:gd name="T30" fmla="*/ 268135 w 1554480"/>
                  <a:gd name="T31" fmla="*/ 1112240 h 1986279"/>
                  <a:gd name="T32" fmla="*/ 235851 w 1554480"/>
                  <a:gd name="T33" fmla="*/ 1030325 h 1986279"/>
                  <a:gd name="T34" fmla="*/ 233680 w 1554480"/>
                  <a:gd name="T35" fmla="*/ 92887 h 1986279"/>
                  <a:gd name="T36" fmla="*/ 182791 w 1554480"/>
                  <a:gd name="T37" fmla="*/ 18859 h 1986279"/>
                  <a:gd name="T38" fmla="*/ 116700 w 1554480"/>
                  <a:gd name="T39" fmla="*/ 0 h 1986279"/>
                  <a:gd name="T40" fmla="*/ 51282 w 1554480"/>
                  <a:gd name="T41" fmla="*/ 18859 h 1986279"/>
                  <a:gd name="T42" fmla="*/ 2095 w 1554480"/>
                  <a:gd name="T43" fmla="*/ 92887 h 1986279"/>
                  <a:gd name="T44" fmla="*/ 0 w 1554480"/>
                  <a:gd name="T45" fmla="*/ 1030325 h 1986279"/>
                  <a:gd name="T46" fmla="*/ 27330 w 1554480"/>
                  <a:gd name="T47" fmla="*/ 1166876 h 1986279"/>
                  <a:gd name="T48" fmla="*/ 104279 w 1554480"/>
                  <a:gd name="T49" fmla="*/ 1281061 h 1986279"/>
                  <a:gd name="T50" fmla="*/ 214757 w 1554480"/>
                  <a:gd name="T51" fmla="*/ 1355559 h 1986279"/>
                  <a:gd name="T52" fmla="*/ 352539 w 1554480"/>
                  <a:gd name="T53" fmla="*/ 1382852 h 1986279"/>
                  <a:gd name="T54" fmla="*/ 822375 w 1554480"/>
                  <a:gd name="T55" fmla="*/ 1376032 h 1986279"/>
                  <a:gd name="T56" fmla="*/ 949007 w 1554480"/>
                  <a:gd name="T57" fmla="*/ 1323289 h 1986279"/>
                  <a:gd name="T58" fmla="*/ 1044575 w 1554480"/>
                  <a:gd name="T59" fmla="*/ 1227709 h 1986279"/>
                  <a:gd name="T60" fmla="*/ 1097965 w 1554480"/>
                  <a:gd name="T61" fmla="*/ 1100467 h 1986279"/>
                  <a:gd name="T62" fmla="*/ 1104798 w 1554480"/>
                  <a:gd name="T63" fmla="*/ 821766 h 1986279"/>
                  <a:gd name="T64" fmla="*/ 1546021 w 1554480"/>
                  <a:gd name="T65" fmla="*/ 559244 h 1986279"/>
                  <a:gd name="T66" fmla="*/ 1483334 w 1554480"/>
                  <a:gd name="T67" fmla="*/ 495300 h 1986279"/>
                  <a:gd name="T68" fmla="*/ 1413814 w 1554480"/>
                  <a:gd name="T69" fmla="*/ 488784 h 1986279"/>
                  <a:gd name="T70" fmla="*/ 1338084 w 1554480"/>
                  <a:gd name="T71" fmla="*/ 539534 h 1986279"/>
                  <a:gd name="T72" fmla="*/ 1318539 w 1554480"/>
                  <a:gd name="T73" fmla="*/ 603300 h 1986279"/>
                  <a:gd name="T74" fmla="*/ 1316520 w 1554480"/>
                  <a:gd name="T75" fmla="*/ 1658429 h 1986279"/>
                  <a:gd name="T76" fmla="*/ 1269034 w 1554480"/>
                  <a:gd name="T77" fmla="*/ 1732127 h 1986279"/>
                  <a:gd name="T78" fmla="*/ 1204353 w 1554480"/>
                  <a:gd name="T79" fmla="*/ 1750301 h 1986279"/>
                  <a:gd name="T80" fmla="*/ 1024204 w 1554480"/>
                  <a:gd name="T81" fmla="*/ 1752460 h 1986279"/>
                  <a:gd name="T82" fmla="*/ 951903 w 1554480"/>
                  <a:gd name="T83" fmla="*/ 1803349 h 1986279"/>
                  <a:gd name="T84" fmla="*/ 933729 w 1554480"/>
                  <a:gd name="T85" fmla="*/ 1869465 h 1986279"/>
                  <a:gd name="T86" fmla="*/ 951903 w 1554480"/>
                  <a:gd name="T87" fmla="*/ 1934870 h 1986279"/>
                  <a:gd name="T88" fmla="*/ 1024204 w 1554480"/>
                  <a:gd name="T89" fmla="*/ 1984057 h 1986279"/>
                  <a:gd name="T90" fmla="*/ 1204353 w 1554480"/>
                  <a:gd name="T91" fmla="*/ 1986153 h 1986279"/>
                  <a:gd name="T92" fmla="*/ 1339659 w 1554480"/>
                  <a:gd name="T93" fmla="*/ 1958835 h 1986279"/>
                  <a:gd name="T94" fmla="*/ 1452626 w 1554480"/>
                  <a:gd name="T95" fmla="*/ 1881873 h 1986279"/>
                  <a:gd name="T96" fmla="*/ 1509166 w 1554480"/>
                  <a:gd name="T97" fmla="*/ 1811248 h 1986279"/>
                  <a:gd name="T98" fmla="*/ 1543088 w 1554480"/>
                  <a:gd name="T99" fmla="*/ 1728495 h 1986279"/>
                  <a:gd name="T100" fmla="*/ 1554403 w 1554480"/>
                  <a:gd name="T101" fmla="*/ 1633613 h 1986279"/>
                  <a:gd name="T102" fmla="*/ 1554403 w 1554480"/>
                  <a:gd name="T103" fmla="*/ 219760 h 1986279"/>
                  <a:gd name="T104" fmla="*/ 1520888 w 1554480"/>
                  <a:gd name="T105" fmla="*/ 137439 h 1986279"/>
                  <a:gd name="T106" fmla="*/ 1437716 w 1554480"/>
                  <a:gd name="T107" fmla="*/ 104267 h 1986279"/>
                  <a:gd name="T108" fmla="*/ 1371612 w 1554480"/>
                  <a:gd name="T109" fmla="*/ 122936 h 1986279"/>
                  <a:gd name="T110" fmla="*/ 1320711 w 1554480"/>
                  <a:gd name="T111" fmla="*/ 196202 h 1986279"/>
                  <a:gd name="T112" fmla="*/ 1318539 w 1554480"/>
                  <a:gd name="T113" fmla="*/ 222211 h 1986279"/>
                  <a:gd name="T114" fmla="*/ 1353312 w 1554480"/>
                  <a:gd name="T115" fmla="*/ 305765 h 1986279"/>
                  <a:gd name="T116" fmla="*/ 1437716 w 1554480"/>
                  <a:gd name="T117" fmla="*/ 340131 h 1986279"/>
                  <a:gd name="T118" fmla="*/ 1503121 w 1554480"/>
                  <a:gd name="T119" fmla="*/ 320802 h 1986279"/>
                  <a:gd name="T120" fmla="*/ 1552308 w 1554480"/>
                  <a:gd name="T121" fmla="*/ 245859 h 1986279"/>
                  <a:gd name="T122" fmla="*/ 1554403 w 1554480"/>
                  <a:gd name="T123" fmla="*/ 219760 h 1986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54480" h="1986279">
                    <a:moveTo>
                      <a:pt x="1104798" y="821766"/>
                    </a:moveTo>
                    <a:lnTo>
                      <a:pt x="1097965" y="751649"/>
                    </a:lnTo>
                    <a:lnTo>
                      <a:pt x="1077493" y="685215"/>
                    </a:lnTo>
                    <a:lnTo>
                      <a:pt x="1044575" y="625030"/>
                    </a:lnTo>
                    <a:lnTo>
                      <a:pt x="1000531" y="573506"/>
                    </a:lnTo>
                    <a:lnTo>
                      <a:pt x="949007" y="529450"/>
                    </a:lnTo>
                    <a:lnTo>
                      <a:pt x="888822" y="496531"/>
                    </a:lnTo>
                    <a:lnTo>
                      <a:pt x="822375" y="476072"/>
                    </a:lnTo>
                    <a:lnTo>
                      <a:pt x="752259" y="469239"/>
                    </a:lnTo>
                    <a:lnTo>
                      <a:pt x="429514" y="469239"/>
                    </a:lnTo>
                    <a:lnTo>
                      <a:pt x="383565" y="477926"/>
                    </a:lnTo>
                    <a:lnTo>
                      <a:pt x="345109" y="503986"/>
                    </a:lnTo>
                    <a:lnTo>
                      <a:pt x="319024" y="541870"/>
                    </a:lnTo>
                    <a:lnTo>
                      <a:pt x="310349" y="585914"/>
                    </a:lnTo>
                    <a:lnTo>
                      <a:pt x="312508" y="609828"/>
                    </a:lnTo>
                    <a:lnTo>
                      <a:pt x="329882" y="652030"/>
                    </a:lnTo>
                    <a:lnTo>
                      <a:pt x="363397" y="685546"/>
                    </a:lnTo>
                    <a:lnTo>
                      <a:pt x="405599" y="702919"/>
                    </a:lnTo>
                    <a:lnTo>
                      <a:pt x="752259" y="705078"/>
                    </a:lnTo>
                    <a:lnTo>
                      <a:pt x="775055" y="707263"/>
                    </a:lnTo>
                    <a:lnTo>
                      <a:pt x="816025" y="724649"/>
                    </a:lnTo>
                    <a:lnTo>
                      <a:pt x="849388" y="757072"/>
                    </a:lnTo>
                    <a:lnTo>
                      <a:pt x="866775" y="798042"/>
                    </a:lnTo>
                    <a:lnTo>
                      <a:pt x="868946" y="821766"/>
                    </a:lnTo>
                    <a:lnTo>
                      <a:pt x="868946" y="1030325"/>
                    </a:lnTo>
                    <a:lnTo>
                      <a:pt x="860247" y="1078115"/>
                    </a:lnTo>
                    <a:lnTo>
                      <a:pt x="834186" y="1112240"/>
                    </a:lnTo>
                    <a:lnTo>
                      <a:pt x="796315" y="1138326"/>
                    </a:lnTo>
                    <a:lnTo>
                      <a:pt x="752259" y="1147013"/>
                    </a:lnTo>
                    <a:lnTo>
                      <a:pt x="352539" y="1147013"/>
                    </a:lnTo>
                    <a:lnTo>
                      <a:pt x="309092" y="1138326"/>
                    </a:lnTo>
                    <a:lnTo>
                      <a:pt x="268135" y="1112240"/>
                    </a:lnTo>
                    <a:lnTo>
                      <a:pt x="243916" y="1076871"/>
                    </a:lnTo>
                    <a:lnTo>
                      <a:pt x="235851" y="1030325"/>
                    </a:lnTo>
                    <a:lnTo>
                      <a:pt x="235851" y="116687"/>
                    </a:lnTo>
                    <a:lnTo>
                      <a:pt x="233680" y="92887"/>
                    </a:lnTo>
                    <a:lnTo>
                      <a:pt x="216306" y="51295"/>
                    </a:lnTo>
                    <a:lnTo>
                      <a:pt x="182791" y="18859"/>
                    </a:lnTo>
                    <a:lnTo>
                      <a:pt x="140576" y="2095"/>
                    </a:lnTo>
                    <a:lnTo>
                      <a:pt x="116700" y="0"/>
                    </a:lnTo>
                    <a:lnTo>
                      <a:pt x="92862" y="2095"/>
                    </a:lnTo>
                    <a:lnTo>
                      <a:pt x="51282" y="18859"/>
                    </a:lnTo>
                    <a:lnTo>
                      <a:pt x="18859" y="51295"/>
                    </a:lnTo>
                    <a:lnTo>
                      <a:pt x="2095" y="92887"/>
                    </a:lnTo>
                    <a:lnTo>
                      <a:pt x="0" y="116687"/>
                    </a:lnTo>
                    <a:lnTo>
                      <a:pt x="0" y="1030325"/>
                    </a:lnTo>
                    <a:lnTo>
                      <a:pt x="6819" y="1100467"/>
                    </a:lnTo>
                    <a:lnTo>
                      <a:pt x="27330" y="1166876"/>
                    </a:lnTo>
                    <a:lnTo>
                      <a:pt x="60198" y="1227709"/>
                    </a:lnTo>
                    <a:lnTo>
                      <a:pt x="104279" y="1281061"/>
                    </a:lnTo>
                    <a:lnTo>
                      <a:pt x="155473" y="1323289"/>
                    </a:lnTo>
                    <a:lnTo>
                      <a:pt x="214757" y="1355559"/>
                    </a:lnTo>
                    <a:lnTo>
                      <a:pt x="280860" y="1376032"/>
                    </a:lnTo>
                    <a:lnTo>
                      <a:pt x="352539" y="1382852"/>
                    </a:lnTo>
                    <a:lnTo>
                      <a:pt x="752259" y="1382852"/>
                    </a:lnTo>
                    <a:lnTo>
                      <a:pt x="822375" y="1376032"/>
                    </a:lnTo>
                    <a:lnTo>
                      <a:pt x="888822" y="1355559"/>
                    </a:lnTo>
                    <a:lnTo>
                      <a:pt x="949007" y="1323289"/>
                    </a:lnTo>
                    <a:lnTo>
                      <a:pt x="1000531" y="1281061"/>
                    </a:lnTo>
                    <a:lnTo>
                      <a:pt x="1044575" y="1227709"/>
                    </a:lnTo>
                    <a:lnTo>
                      <a:pt x="1077493" y="1166876"/>
                    </a:lnTo>
                    <a:lnTo>
                      <a:pt x="1097965" y="1100467"/>
                    </a:lnTo>
                    <a:lnTo>
                      <a:pt x="1104798" y="1030325"/>
                    </a:lnTo>
                    <a:lnTo>
                      <a:pt x="1104798" y="821766"/>
                    </a:lnTo>
                    <a:close/>
                  </a:path>
                  <a:path w="1554480" h="1986279">
                    <a:moveTo>
                      <a:pt x="1554403" y="603300"/>
                    </a:moveTo>
                    <a:lnTo>
                      <a:pt x="1546021" y="559244"/>
                    </a:lnTo>
                    <a:lnTo>
                      <a:pt x="1520888" y="521373"/>
                    </a:lnTo>
                    <a:lnTo>
                      <a:pt x="1483334" y="495300"/>
                    </a:lnTo>
                    <a:lnTo>
                      <a:pt x="1437716" y="486613"/>
                    </a:lnTo>
                    <a:lnTo>
                      <a:pt x="1413814" y="488784"/>
                    </a:lnTo>
                    <a:lnTo>
                      <a:pt x="1371612" y="506171"/>
                    </a:lnTo>
                    <a:lnTo>
                      <a:pt x="1338084" y="539534"/>
                    </a:lnTo>
                    <a:lnTo>
                      <a:pt x="1320711" y="580504"/>
                    </a:lnTo>
                    <a:lnTo>
                      <a:pt x="1318539" y="603300"/>
                    </a:lnTo>
                    <a:lnTo>
                      <a:pt x="1318539" y="1633613"/>
                    </a:lnTo>
                    <a:lnTo>
                      <a:pt x="1316520" y="1658429"/>
                    </a:lnTo>
                    <a:lnTo>
                      <a:pt x="1300391" y="1700631"/>
                    </a:lnTo>
                    <a:lnTo>
                      <a:pt x="1269034" y="1732127"/>
                    </a:lnTo>
                    <a:lnTo>
                      <a:pt x="1228077" y="1748269"/>
                    </a:lnTo>
                    <a:lnTo>
                      <a:pt x="1204353" y="1750301"/>
                    </a:lnTo>
                    <a:lnTo>
                      <a:pt x="1047940" y="1750301"/>
                    </a:lnTo>
                    <a:lnTo>
                      <a:pt x="1024204" y="1752460"/>
                    </a:lnTo>
                    <a:lnTo>
                      <a:pt x="983246" y="1769833"/>
                    </a:lnTo>
                    <a:lnTo>
                      <a:pt x="951903" y="1803349"/>
                    </a:lnTo>
                    <a:lnTo>
                      <a:pt x="935748" y="1845551"/>
                    </a:lnTo>
                    <a:lnTo>
                      <a:pt x="933729" y="1869465"/>
                    </a:lnTo>
                    <a:lnTo>
                      <a:pt x="935748" y="1893277"/>
                    </a:lnTo>
                    <a:lnTo>
                      <a:pt x="951903" y="1934870"/>
                    </a:lnTo>
                    <a:lnTo>
                      <a:pt x="983246" y="1967293"/>
                    </a:lnTo>
                    <a:lnTo>
                      <a:pt x="1024204" y="1984057"/>
                    </a:lnTo>
                    <a:lnTo>
                      <a:pt x="1047940" y="1986153"/>
                    </a:lnTo>
                    <a:lnTo>
                      <a:pt x="1204353" y="1986153"/>
                    </a:lnTo>
                    <a:lnTo>
                      <a:pt x="1274165" y="1979320"/>
                    </a:lnTo>
                    <a:lnTo>
                      <a:pt x="1339659" y="1958835"/>
                    </a:lnTo>
                    <a:lnTo>
                      <a:pt x="1399540" y="1925929"/>
                    </a:lnTo>
                    <a:lnTo>
                      <a:pt x="1452626" y="1881873"/>
                    </a:lnTo>
                    <a:lnTo>
                      <a:pt x="1483715" y="1848078"/>
                    </a:lnTo>
                    <a:lnTo>
                      <a:pt x="1509166" y="1811248"/>
                    </a:lnTo>
                    <a:lnTo>
                      <a:pt x="1528953" y="1771383"/>
                    </a:lnTo>
                    <a:lnTo>
                      <a:pt x="1543088" y="1728495"/>
                    </a:lnTo>
                    <a:lnTo>
                      <a:pt x="1551571" y="1682559"/>
                    </a:lnTo>
                    <a:lnTo>
                      <a:pt x="1554403" y="1633613"/>
                    </a:lnTo>
                    <a:lnTo>
                      <a:pt x="1554403" y="603300"/>
                    </a:lnTo>
                    <a:close/>
                  </a:path>
                  <a:path w="1554480" h="1986279">
                    <a:moveTo>
                      <a:pt x="1554403" y="219760"/>
                    </a:moveTo>
                    <a:lnTo>
                      <a:pt x="1546021" y="174612"/>
                    </a:lnTo>
                    <a:lnTo>
                      <a:pt x="1520888" y="137439"/>
                    </a:lnTo>
                    <a:lnTo>
                      <a:pt x="1483334" y="112560"/>
                    </a:lnTo>
                    <a:lnTo>
                      <a:pt x="1437716" y="104267"/>
                    </a:lnTo>
                    <a:lnTo>
                      <a:pt x="1413814" y="106349"/>
                    </a:lnTo>
                    <a:lnTo>
                      <a:pt x="1371612" y="122936"/>
                    </a:lnTo>
                    <a:lnTo>
                      <a:pt x="1338084" y="155028"/>
                    </a:lnTo>
                    <a:lnTo>
                      <a:pt x="1320711" y="196202"/>
                    </a:lnTo>
                    <a:lnTo>
                      <a:pt x="1318539" y="219760"/>
                    </a:lnTo>
                    <a:lnTo>
                      <a:pt x="1318539" y="222211"/>
                    </a:lnTo>
                    <a:lnTo>
                      <a:pt x="1327226" y="267677"/>
                    </a:lnTo>
                    <a:lnTo>
                      <a:pt x="1353312" y="305765"/>
                    </a:lnTo>
                    <a:lnTo>
                      <a:pt x="1391780" y="331546"/>
                    </a:lnTo>
                    <a:lnTo>
                      <a:pt x="1437716" y="340131"/>
                    </a:lnTo>
                    <a:lnTo>
                      <a:pt x="1461528" y="337985"/>
                    </a:lnTo>
                    <a:lnTo>
                      <a:pt x="1503121" y="320802"/>
                    </a:lnTo>
                    <a:lnTo>
                      <a:pt x="1535557" y="287642"/>
                    </a:lnTo>
                    <a:lnTo>
                      <a:pt x="1552308" y="245859"/>
                    </a:lnTo>
                    <a:lnTo>
                      <a:pt x="1554403" y="222211"/>
                    </a:lnTo>
                    <a:lnTo>
                      <a:pt x="1554403" y="2197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5" name="object 12"/>
              <p:cNvSpPr>
                <a:spLocks noChangeArrowheads="1"/>
              </p:cNvSpPr>
              <p:nvPr userDrawn="1"/>
            </p:nvSpPr>
            <p:spPr bwMode="auto">
              <a:xfrm>
                <a:off x="13196888" y="7029450"/>
                <a:ext cx="976312" cy="912813"/>
              </a:xfrm>
              <a:custGeom>
                <a:avLst/>
                <a:gdLst>
                  <a:gd name="T0" fmla="*/ 335173 w 975994"/>
                  <a:gd name="T1" fmla="*/ 0 h 913765"/>
                  <a:gd name="T2" fmla="*/ 231116 w 975994"/>
                  <a:gd name="T3" fmla="*/ 13976 h 913765"/>
                  <a:gd name="T4" fmla="*/ 117695 w 975994"/>
                  <a:gd name="T5" fmla="*/ 71851 h 913765"/>
                  <a:gd name="T6" fmla="*/ 38472 w 975994"/>
                  <a:gd name="T7" fmla="*/ 162167 h 913765"/>
                  <a:gd name="T8" fmla="*/ 1549 w 975994"/>
                  <a:gd name="T9" fmla="*/ 274814 h 913765"/>
                  <a:gd name="T10" fmla="*/ 0 w 975994"/>
                  <a:gd name="T11" fmla="*/ 583427 h 913765"/>
                  <a:gd name="T12" fmla="*/ 8383 w 975994"/>
                  <a:gd name="T13" fmla="*/ 664134 h 913765"/>
                  <a:gd name="T14" fmla="*/ 71058 w 975994"/>
                  <a:gd name="T15" fmla="*/ 789184 h 913765"/>
                  <a:gd name="T16" fmla="*/ 168189 w 975994"/>
                  <a:gd name="T17" fmla="*/ 870798 h 913765"/>
                  <a:gd name="T18" fmla="*/ 278664 w 975994"/>
                  <a:gd name="T19" fmla="*/ 908971 h 913765"/>
                  <a:gd name="T20" fmla="*/ 856528 w 975994"/>
                  <a:gd name="T21" fmla="*/ 913626 h 913765"/>
                  <a:gd name="T22" fmla="*/ 940934 w 975994"/>
                  <a:gd name="T23" fmla="*/ 880109 h 913765"/>
                  <a:gd name="T24" fmla="*/ 975698 w 975994"/>
                  <a:gd name="T25" fmla="*/ 796939 h 913765"/>
                  <a:gd name="T26" fmla="*/ 956137 w 975994"/>
                  <a:gd name="T27" fmla="*/ 730848 h 913765"/>
                  <a:gd name="T28" fmla="*/ 880410 w 975994"/>
                  <a:gd name="T29" fmla="*/ 679944 h 913765"/>
                  <a:gd name="T30" fmla="*/ 360286 w 975994"/>
                  <a:gd name="T31" fmla="*/ 675369 h 913765"/>
                  <a:gd name="T32" fmla="*/ 258191 w 975994"/>
                  <a:gd name="T33" fmla="*/ 617030 h 913765"/>
                  <a:gd name="T34" fmla="*/ 235856 w 975994"/>
                  <a:gd name="T35" fmla="*/ 513911 h 913765"/>
                  <a:gd name="T36" fmla="*/ 245468 w 975994"/>
                  <a:gd name="T37" fmla="*/ 318723 h 913765"/>
                  <a:gd name="T38" fmla="*/ 319952 w 975994"/>
                  <a:gd name="T39" fmla="*/ 244864 h 913765"/>
                  <a:gd name="T40" fmla="*/ 692680 w 975994"/>
                  <a:gd name="T41" fmla="*/ 235856 h 913765"/>
                  <a:gd name="T42" fmla="*/ 747286 w 975994"/>
                  <a:gd name="T43" fmla="*/ 296682 h 913765"/>
                  <a:gd name="T44" fmla="*/ 725946 w 975994"/>
                  <a:gd name="T45" fmla="*/ 346817 h 913765"/>
                  <a:gd name="T46" fmla="*/ 407688 w 975994"/>
                  <a:gd name="T47" fmla="*/ 359579 h 913765"/>
                  <a:gd name="T48" fmla="*/ 336319 w 975994"/>
                  <a:gd name="T49" fmla="*/ 407591 h 913765"/>
                  <a:gd name="T50" fmla="*/ 320262 w 975994"/>
                  <a:gd name="T51" fmla="*/ 463022 h 913765"/>
                  <a:gd name="T52" fmla="*/ 336319 w 975994"/>
                  <a:gd name="T53" fmla="*/ 518466 h 913765"/>
                  <a:gd name="T54" fmla="*/ 407688 w 975994"/>
                  <a:gd name="T55" fmla="*/ 566460 h 913765"/>
                  <a:gd name="T56" fmla="*/ 692680 w 975994"/>
                  <a:gd name="T57" fmla="*/ 568527 h 913765"/>
                  <a:gd name="T58" fmla="*/ 782965 w 975994"/>
                  <a:gd name="T59" fmla="*/ 557986 h 913765"/>
                  <a:gd name="T60" fmla="*/ 855282 w 975994"/>
                  <a:gd name="T61" fmla="*/ 526329 h 913765"/>
                  <a:gd name="T62" fmla="*/ 947143 w 975994"/>
                  <a:gd name="T63" fmla="*/ 420814 h 913765"/>
                  <a:gd name="T64" fmla="*/ 970401 w 975994"/>
                  <a:gd name="T65" fmla="*/ 320275 h 913765"/>
                  <a:gd name="T66" fmla="*/ 955516 w 975994"/>
                  <a:gd name="T67" fmla="*/ 213520 h 913765"/>
                  <a:gd name="T68" fmla="*/ 880720 w 975994"/>
                  <a:gd name="T69" fmla="*/ 89694 h 913765"/>
                  <a:gd name="T70" fmla="*/ 819283 w 975994"/>
                  <a:gd name="T71" fmla="*/ 42197 h 913765"/>
                  <a:gd name="T72" fmla="*/ 742935 w 975994"/>
                  <a:gd name="T73" fmla="*/ 10555 h 913765"/>
                  <a:gd name="T74" fmla="*/ 652953 w 975994"/>
                  <a:gd name="T75" fmla="*/ 0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75994" h="913765">
                    <a:moveTo>
                      <a:pt x="652953" y="0"/>
                    </a:moveTo>
                    <a:lnTo>
                      <a:pt x="335173" y="0"/>
                    </a:lnTo>
                    <a:lnTo>
                      <a:pt x="298778" y="1555"/>
                    </a:lnTo>
                    <a:lnTo>
                      <a:pt x="231116" y="13976"/>
                    </a:lnTo>
                    <a:lnTo>
                      <a:pt x="170444" y="38333"/>
                    </a:lnTo>
                    <a:lnTo>
                      <a:pt x="117695" y="71851"/>
                    </a:lnTo>
                    <a:lnTo>
                      <a:pt x="73233" y="113755"/>
                    </a:lnTo>
                    <a:lnTo>
                      <a:pt x="38472" y="162167"/>
                    </a:lnTo>
                    <a:lnTo>
                      <a:pt x="13958" y="216469"/>
                    </a:lnTo>
                    <a:lnTo>
                      <a:pt x="1549" y="274814"/>
                    </a:lnTo>
                    <a:lnTo>
                      <a:pt x="0" y="305372"/>
                    </a:lnTo>
                    <a:lnTo>
                      <a:pt x="0" y="583427"/>
                    </a:lnTo>
                    <a:lnTo>
                      <a:pt x="2096" y="625337"/>
                    </a:lnTo>
                    <a:lnTo>
                      <a:pt x="8383" y="664134"/>
                    </a:lnTo>
                    <a:lnTo>
                      <a:pt x="33517" y="732386"/>
                    </a:lnTo>
                    <a:lnTo>
                      <a:pt x="71058" y="789184"/>
                    </a:lnTo>
                    <a:lnTo>
                      <a:pt x="116687" y="835419"/>
                    </a:lnTo>
                    <a:lnTo>
                      <a:pt x="168189" y="870798"/>
                    </a:lnTo>
                    <a:lnTo>
                      <a:pt x="223438" y="895009"/>
                    </a:lnTo>
                    <a:lnTo>
                      <a:pt x="278664" y="908971"/>
                    </a:lnTo>
                    <a:lnTo>
                      <a:pt x="330199" y="913626"/>
                    </a:lnTo>
                    <a:lnTo>
                      <a:pt x="856528" y="913626"/>
                    </a:lnTo>
                    <a:lnTo>
                      <a:pt x="902438" y="905247"/>
                    </a:lnTo>
                    <a:lnTo>
                      <a:pt x="940934" y="880109"/>
                    </a:lnTo>
                    <a:lnTo>
                      <a:pt x="967001" y="842568"/>
                    </a:lnTo>
                    <a:lnTo>
                      <a:pt x="975698" y="796939"/>
                    </a:lnTo>
                    <a:lnTo>
                      <a:pt x="973523" y="773053"/>
                    </a:lnTo>
                    <a:lnTo>
                      <a:pt x="956137" y="730848"/>
                    </a:lnTo>
                    <a:lnTo>
                      <a:pt x="922613" y="697325"/>
                    </a:lnTo>
                    <a:lnTo>
                      <a:pt x="880410" y="679944"/>
                    </a:lnTo>
                    <a:lnTo>
                      <a:pt x="399705" y="677769"/>
                    </a:lnTo>
                    <a:lnTo>
                      <a:pt x="360286" y="675369"/>
                    </a:lnTo>
                    <a:lnTo>
                      <a:pt x="298216" y="656137"/>
                    </a:lnTo>
                    <a:lnTo>
                      <a:pt x="258191" y="617030"/>
                    </a:lnTo>
                    <a:lnTo>
                      <a:pt x="238336" y="554345"/>
                    </a:lnTo>
                    <a:lnTo>
                      <a:pt x="235856" y="513911"/>
                    </a:lnTo>
                    <a:lnTo>
                      <a:pt x="235856" y="387297"/>
                    </a:lnTo>
                    <a:lnTo>
                      <a:pt x="245468" y="318723"/>
                    </a:lnTo>
                    <a:lnTo>
                      <a:pt x="274337" y="271855"/>
                    </a:lnTo>
                    <a:lnTo>
                      <a:pt x="319952" y="244864"/>
                    </a:lnTo>
                    <a:lnTo>
                      <a:pt x="379852" y="235856"/>
                    </a:lnTo>
                    <a:lnTo>
                      <a:pt x="692680" y="235856"/>
                    </a:lnTo>
                    <a:lnTo>
                      <a:pt x="733632" y="254850"/>
                    </a:lnTo>
                    <a:lnTo>
                      <a:pt x="747286" y="296682"/>
                    </a:lnTo>
                    <a:lnTo>
                      <a:pt x="746429" y="307850"/>
                    </a:lnTo>
                    <a:lnTo>
                      <a:pt x="725946" y="346817"/>
                    </a:lnTo>
                    <a:lnTo>
                      <a:pt x="434468" y="357507"/>
                    </a:lnTo>
                    <a:lnTo>
                      <a:pt x="407688" y="359579"/>
                    </a:lnTo>
                    <a:lnTo>
                      <a:pt x="364864" y="376144"/>
                    </a:lnTo>
                    <a:lnTo>
                      <a:pt x="336319" y="407591"/>
                    </a:lnTo>
                    <a:lnTo>
                      <a:pt x="322045" y="443790"/>
                    </a:lnTo>
                    <a:lnTo>
                      <a:pt x="320262" y="463022"/>
                    </a:lnTo>
                    <a:lnTo>
                      <a:pt x="322045" y="482272"/>
                    </a:lnTo>
                    <a:lnTo>
                      <a:pt x="336319" y="518466"/>
                    </a:lnTo>
                    <a:lnTo>
                      <a:pt x="364864" y="549907"/>
                    </a:lnTo>
                    <a:lnTo>
                      <a:pt x="407688" y="566460"/>
                    </a:lnTo>
                    <a:lnTo>
                      <a:pt x="434468" y="568527"/>
                    </a:lnTo>
                    <a:lnTo>
                      <a:pt x="692680" y="568527"/>
                    </a:lnTo>
                    <a:lnTo>
                      <a:pt x="740065" y="565893"/>
                    </a:lnTo>
                    <a:lnTo>
                      <a:pt x="782965" y="557986"/>
                    </a:lnTo>
                    <a:lnTo>
                      <a:pt x="821374" y="544801"/>
                    </a:lnTo>
                    <a:lnTo>
                      <a:pt x="855282" y="526329"/>
                    </a:lnTo>
                    <a:lnTo>
                      <a:pt x="909895" y="478853"/>
                    </a:lnTo>
                    <a:lnTo>
                      <a:pt x="947143" y="420814"/>
                    </a:lnTo>
                    <a:lnTo>
                      <a:pt x="966982" y="355029"/>
                    </a:lnTo>
                    <a:lnTo>
                      <a:pt x="970401" y="320275"/>
                    </a:lnTo>
                    <a:lnTo>
                      <a:pt x="969488" y="284274"/>
                    </a:lnTo>
                    <a:lnTo>
                      <a:pt x="955516" y="213520"/>
                    </a:lnTo>
                    <a:lnTo>
                      <a:pt x="926034" y="147723"/>
                    </a:lnTo>
                    <a:lnTo>
                      <a:pt x="880720" y="89694"/>
                    </a:lnTo>
                    <a:lnTo>
                      <a:pt x="852015" y="64633"/>
                    </a:lnTo>
                    <a:lnTo>
                      <a:pt x="819283" y="42197"/>
                    </a:lnTo>
                    <a:lnTo>
                      <a:pt x="782813" y="23743"/>
                    </a:lnTo>
                    <a:lnTo>
                      <a:pt x="742935" y="10555"/>
                    </a:lnTo>
                    <a:lnTo>
                      <a:pt x="699648" y="2639"/>
                    </a:lnTo>
                    <a:lnTo>
                      <a:pt x="65295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图片 44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001E50"/>
              </a:clrFrom>
              <a:clrTo>
                <a:srgbClr val="001E5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741" y="136176"/>
            <a:ext cx="677556" cy="526342"/>
          </a:xfrm>
          <a:prstGeom prst="rect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object 56"/>
          <p:cNvSpPr>
            <a:spLocks noChangeArrowheads="1"/>
          </p:cNvSpPr>
          <p:nvPr userDrawn="1"/>
        </p:nvSpPr>
        <p:spPr bwMode="auto">
          <a:xfrm>
            <a:off x="11266418" y="149591"/>
            <a:ext cx="5440" cy="505967"/>
          </a:xfrm>
          <a:custGeom>
            <a:avLst/>
            <a:gdLst>
              <a:gd name="T0" fmla="*/ 11591 w 12065"/>
              <a:gd name="T1" fmla="*/ 0 h 1180465"/>
              <a:gd name="T2" fmla="*/ 0 w 12065"/>
              <a:gd name="T3" fmla="*/ 0 h 1180465"/>
              <a:gd name="T4" fmla="*/ 0 w 12065"/>
              <a:gd name="T5" fmla="*/ 1180131 h 1180465"/>
              <a:gd name="T6" fmla="*/ 11591 w 12065"/>
              <a:gd name="T7" fmla="*/ 1180131 h 1180465"/>
              <a:gd name="T8" fmla="*/ 11591 w 12065"/>
              <a:gd name="T9" fmla="*/ 0 h 1180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65" h="1180465">
                <a:moveTo>
                  <a:pt x="11591" y="0"/>
                </a:moveTo>
                <a:lnTo>
                  <a:pt x="0" y="0"/>
                </a:lnTo>
                <a:lnTo>
                  <a:pt x="0" y="1180131"/>
                </a:lnTo>
                <a:lnTo>
                  <a:pt x="11591" y="1180131"/>
                </a:lnTo>
                <a:lnTo>
                  <a:pt x="11591" y="0"/>
                </a:lnTo>
                <a:close/>
              </a:path>
            </a:pathLst>
          </a:custGeom>
          <a:solidFill>
            <a:srgbClr val="6C6C6C"/>
          </a:solidFill>
          <a:ln w="9525">
            <a:solidFill>
              <a:schemeClr val="bg1">
                <a:lumMod val="75000"/>
              </a:schemeClr>
            </a:solidFill>
            <a:rou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/>
          </a:p>
        </p:txBody>
      </p:sp>
      <p:grpSp>
        <p:nvGrpSpPr>
          <p:cNvPr id="9" name="组合 8"/>
          <p:cNvGrpSpPr/>
          <p:nvPr userDrawn="1"/>
        </p:nvGrpSpPr>
        <p:grpSpPr>
          <a:xfrm>
            <a:off x="10648022" y="161152"/>
            <a:ext cx="511135" cy="489106"/>
            <a:chOff x="8697913" y="3270250"/>
            <a:chExt cx="5510212" cy="5272723"/>
          </a:xfrm>
          <a:solidFill>
            <a:schemeClr val="bg1"/>
          </a:solidFill>
        </p:grpSpPr>
        <p:sp>
          <p:nvSpPr>
            <p:cNvPr id="10" name="object 2"/>
            <p:cNvSpPr>
              <a:spLocks noChangeArrowheads="1"/>
            </p:cNvSpPr>
            <p:nvPr userDrawn="1"/>
          </p:nvSpPr>
          <p:spPr bwMode="auto">
            <a:xfrm>
              <a:off x="10174288" y="4516438"/>
              <a:ext cx="271462" cy="287337"/>
            </a:xfrm>
            <a:custGeom>
              <a:avLst/>
              <a:gdLst>
                <a:gd name="T0" fmla="*/ 133074 w 271145"/>
                <a:gd name="T1" fmla="*/ 0 h 287020"/>
                <a:gd name="T2" fmla="*/ 80102 w 271145"/>
                <a:gd name="T3" fmla="*/ 10250 h 287020"/>
                <a:gd name="T4" fmla="*/ 36616 w 271145"/>
                <a:gd name="T5" fmla="*/ 40951 h 287020"/>
                <a:gd name="T6" fmla="*/ 8063 w 271145"/>
                <a:gd name="T7" fmla="*/ 86638 h 287020"/>
                <a:gd name="T8" fmla="*/ 0 w 271145"/>
                <a:gd name="T9" fmla="*/ 141733 h 287020"/>
                <a:gd name="T10" fmla="*/ 0 w 271145"/>
                <a:gd name="T11" fmla="*/ 148037 h 287020"/>
                <a:gd name="T12" fmla="*/ 8398 w 271145"/>
                <a:gd name="T13" fmla="*/ 200813 h 287020"/>
                <a:gd name="T14" fmla="*/ 37286 w 271145"/>
                <a:gd name="T15" fmla="*/ 245688 h 287020"/>
                <a:gd name="T16" fmla="*/ 81354 w 271145"/>
                <a:gd name="T17" fmla="*/ 276409 h 287020"/>
                <a:gd name="T18" fmla="*/ 134917 w 271145"/>
                <a:gd name="T19" fmla="*/ 286640 h 287020"/>
                <a:gd name="T20" fmla="*/ 163142 w 271145"/>
                <a:gd name="T21" fmla="*/ 284083 h 287020"/>
                <a:gd name="T22" fmla="*/ 211363 w 271145"/>
                <a:gd name="T23" fmla="*/ 263612 h 287020"/>
                <a:gd name="T24" fmla="*/ 250011 w 271145"/>
                <a:gd name="T25" fmla="*/ 224243 h 287020"/>
                <a:gd name="T26" fmla="*/ 268661 w 271145"/>
                <a:gd name="T27" fmla="*/ 175407 h 287020"/>
                <a:gd name="T28" fmla="*/ 270808 w 271145"/>
                <a:gd name="T29" fmla="*/ 148037 h 287020"/>
                <a:gd name="T30" fmla="*/ 270808 w 271145"/>
                <a:gd name="T31" fmla="*/ 141733 h 287020"/>
                <a:gd name="T32" fmla="*/ 261892 w 271145"/>
                <a:gd name="T33" fmla="*/ 86638 h 287020"/>
                <a:gd name="T34" fmla="*/ 232526 w 271145"/>
                <a:gd name="T35" fmla="*/ 40951 h 287020"/>
                <a:gd name="T36" fmla="*/ 187512 w 271145"/>
                <a:gd name="T37" fmla="*/ 10250 h 287020"/>
                <a:gd name="T38" fmla="*/ 133074 w 271145"/>
                <a:gd name="T39" fmla="*/ 0 h 287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1145" h="287020">
                  <a:moveTo>
                    <a:pt x="133074" y="0"/>
                  </a:moveTo>
                  <a:lnTo>
                    <a:pt x="80102" y="10250"/>
                  </a:lnTo>
                  <a:lnTo>
                    <a:pt x="36616" y="40951"/>
                  </a:lnTo>
                  <a:lnTo>
                    <a:pt x="8063" y="86638"/>
                  </a:lnTo>
                  <a:lnTo>
                    <a:pt x="0" y="141733"/>
                  </a:lnTo>
                  <a:lnTo>
                    <a:pt x="0" y="148037"/>
                  </a:lnTo>
                  <a:lnTo>
                    <a:pt x="8398" y="200813"/>
                  </a:lnTo>
                  <a:lnTo>
                    <a:pt x="37286" y="245688"/>
                  </a:lnTo>
                  <a:lnTo>
                    <a:pt x="81354" y="276409"/>
                  </a:lnTo>
                  <a:lnTo>
                    <a:pt x="134917" y="286640"/>
                  </a:lnTo>
                  <a:lnTo>
                    <a:pt x="163142" y="284083"/>
                  </a:lnTo>
                  <a:lnTo>
                    <a:pt x="211363" y="263612"/>
                  </a:lnTo>
                  <a:lnTo>
                    <a:pt x="250011" y="224243"/>
                  </a:lnTo>
                  <a:lnTo>
                    <a:pt x="268661" y="175407"/>
                  </a:lnTo>
                  <a:lnTo>
                    <a:pt x="270808" y="148037"/>
                  </a:lnTo>
                  <a:lnTo>
                    <a:pt x="270808" y="141733"/>
                  </a:lnTo>
                  <a:lnTo>
                    <a:pt x="261892" y="86638"/>
                  </a:lnTo>
                  <a:lnTo>
                    <a:pt x="232526" y="40951"/>
                  </a:lnTo>
                  <a:lnTo>
                    <a:pt x="187512" y="10250"/>
                  </a:lnTo>
                  <a:lnTo>
                    <a:pt x="13307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1" name="object 3"/>
            <p:cNvSpPr>
              <a:spLocks noChangeArrowheads="1"/>
            </p:cNvSpPr>
            <p:nvPr userDrawn="1"/>
          </p:nvSpPr>
          <p:spPr bwMode="auto">
            <a:xfrm>
              <a:off x="9099550" y="4516438"/>
              <a:ext cx="287338" cy="287337"/>
            </a:xfrm>
            <a:custGeom>
              <a:avLst/>
              <a:gdLst>
                <a:gd name="T0" fmla="*/ 143231 w 287654"/>
                <a:gd name="T1" fmla="*/ 0 h 287020"/>
                <a:gd name="T2" fmla="*/ 87502 w 287654"/>
                <a:gd name="T3" fmla="*/ 10250 h 287020"/>
                <a:gd name="T4" fmla="*/ 41339 w 287654"/>
                <a:gd name="T5" fmla="*/ 40951 h 287020"/>
                <a:gd name="T6" fmla="*/ 10315 w 287654"/>
                <a:gd name="T7" fmla="*/ 86634 h 287020"/>
                <a:gd name="T8" fmla="*/ 0 w 287654"/>
                <a:gd name="T9" fmla="*/ 141733 h 287020"/>
                <a:gd name="T10" fmla="*/ 0 w 287654"/>
                <a:gd name="T11" fmla="*/ 148037 h 287020"/>
                <a:gd name="T12" fmla="*/ 10315 w 287654"/>
                <a:gd name="T13" fmla="*/ 200809 h 287020"/>
                <a:gd name="T14" fmla="*/ 41339 w 287654"/>
                <a:gd name="T15" fmla="*/ 245688 h 287020"/>
                <a:gd name="T16" fmla="*/ 87513 w 287654"/>
                <a:gd name="T17" fmla="*/ 276409 h 287020"/>
                <a:gd name="T18" fmla="*/ 143252 w 287654"/>
                <a:gd name="T19" fmla="*/ 286640 h 287020"/>
                <a:gd name="T20" fmla="*/ 171199 w 287654"/>
                <a:gd name="T21" fmla="*/ 284083 h 287020"/>
                <a:gd name="T22" fmla="*/ 221874 w 287654"/>
                <a:gd name="T23" fmla="*/ 263612 h 287020"/>
                <a:gd name="T24" fmla="*/ 262293 w 287654"/>
                <a:gd name="T25" fmla="*/ 224239 h 287020"/>
                <a:gd name="T26" fmla="*/ 284327 w 287654"/>
                <a:gd name="T27" fmla="*/ 175406 h 287020"/>
                <a:gd name="T28" fmla="*/ 287216 w 287654"/>
                <a:gd name="T29" fmla="*/ 148037 h 287020"/>
                <a:gd name="T30" fmla="*/ 287216 w 287654"/>
                <a:gd name="T31" fmla="*/ 141733 h 287020"/>
                <a:gd name="T32" fmla="*/ 275894 w 287654"/>
                <a:gd name="T33" fmla="*/ 86634 h 287020"/>
                <a:gd name="T34" fmla="*/ 243856 w 287654"/>
                <a:gd name="T35" fmla="*/ 40951 h 287020"/>
                <a:gd name="T36" fmla="*/ 197513 w 287654"/>
                <a:gd name="T37" fmla="*/ 10250 h 287020"/>
                <a:gd name="T38" fmla="*/ 143231 w 287654"/>
                <a:gd name="T39" fmla="*/ 0 h 287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7654" h="287020">
                  <a:moveTo>
                    <a:pt x="143231" y="0"/>
                  </a:moveTo>
                  <a:lnTo>
                    <a:pt x="87502" y="10250"/>
                  </a:lnTo>
                  <a:lnTo>
                    <a:pt x="41339" y="40951"/>
                  </a:lnTo>
                  <a:lnTo>
                    <a:pt x="10315" y="86634"/>
                  </a:lnTo>
                  <a:lnTo>
                    <a:pt x="0" y="141733"/>
                  </a:lnTo>
                  <a:lnTo>
                    <a:pt x="0" y="148037"/>
                  </a:lnTo>
                  <a:lnTo>
                    <a:pt x="10315" y="200809"/>
                  </a:lnTo>
                  <a:lnTo>
                    <a:pt x="41339" y="245688"/>
                  </a:lnTo>
                  <a:lnTo>
                    <a:pt x="87513" y="276409"/>
                  </a:lnTo>
                  <a:lnTo>
                    <a:pt x="143252" y="286640"/>
                  </a:lnTo>
                  <a:lnTo>
                    <a:pt x="171199" y="284083"/>
                  </a:lnTo>
                  <a:lnTo>
                    <a:pt x="221874" y="263612"/>
                  </a:lnTo>
                  <a:lnTo>
                    <a:pt x="262293" y="224239"/>
                  </a:lnTo>
                  <a:lnTo>
                    <a:pt x="284327" y="175406"/>
                  </a:lnTo>
                  <a:lnTo>
                    <a:pt x="287216" y="148037"/>
                  </a:lnTo>
                  <a:lnTo>
                    <a:pt x="287216" y="141733"/>
                  </a:lnTo>
                  <a:lnTo>
                    <a:pt x="275894" y="86634"/>
                  </a:lnTo>
                  <a:lnTo>
                    <a:pt x="243856" y="40951"/>
                  </a:lnTo>
                  <a:lnTo>
                    <a:pt x="197513" y="10250"/>
                  </a:lnTo>
                  <a:lnTo>
                    <a:pt x="1432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2" name="object 4"/>
            <p:cNvSpPr>
              <a:spLocks noChangeArrowheads="1"/>
            </p:cNvSpPr>
            <p:nvPr userDrawn="1"/>
          </p:nvSpPr>
          <p:spPr bwMode="auto">
            <a:xfrm>
              <a:off x="9077325" y="4926013"/>
              <a:ext cx="1887538" cy="1328737"/>
            </a:xfrm>
            <a:custGeom>
              <a:avLst/>
              <a:gdLst>
                <a:gd name="T0" fmla="*/ 242340 w 1887854"/>
                <a:gd name="T1" fmla="*/ 1448 h 1329689"/>
                <a:gd name="T2" fmla="*/ 138409 w 1887854"/>
                <a:gd name="T3" fmla="*/ 95040 h 1329689"/>
                <a:gd name="T4" fmla="*/ 158085 w 1887854"/>
                <a:gd name="T5" fmla="*/ 193460 h 1329689"/>
                <a:gd name="T6" fmla="*/ 268243 w 1887854"/>
                <a:gd name="T7" fmla="*/ 254390 h 1329689"/>
                <a:gd name="T8" fmla="*/ 810027 w 1887854"/>
                <a:gd name="T9" fmla="*/ 286421 h 1329689"/>
                <a:gd name="T10" fmla="*/ 809397 w 1887854"/>
                <a:gd name="T11" fmla="*/ 322637 h 1329689"/>
                <a:gd name="T12" fmla="*/ 784803 w 1887854"/>
                <a:gd name="T13" fmla="*/ 336450 h 1329689"/>
                <a:gd name="T14" fmla="*/ 306126 w 1887854"/>
                <a:gd name="T15" fmla="*/ 359663 h 1329689"/>
                <a:gd name="T16" fmla="*/ 246201 w 1887854"/>
                <a:gd name="T17" fmla="*/ 469064 h 1329689"/>
                <a:gd name="T18" fmla="*/ 306126 w 1887854"/>
                <a:gd name="T19" fmla="*/ 577896 h 1329689"/>
                <a:gd name="T20" fmla="*/ 772206 w 1887854"/>
                <a:gd name="T21" fmla="*/ 599060 h 1329689"/>
                <a:gd name="T22" fmla="*/ 810456 w 1887854"/>
                <a:gd name="T23" fmla="*/ 646598 h 1329689"/>
                <a:gd name="T24" fmla="*/ 805495 w 1887854"/>
                <a:gd name="T25" fmla="*/ 683723 h 1329689"/>
                <a:gd name="T26" fmla="*/ 129137 w 1887854"/>
                <a:gd name="T27" fmla="*/ 689329 h 1329689"/>
                <a:gd name="T28" fmla="*/ 21260 w 1887854"/>
                <a:gd name="T29" fmla="*/ 749646 h 1329689"/>
                <a:gd name="T30" fmla="*/ 2362 w 1887854"/>
                <a:gd name="T31" fmla="*/ 850648 h 1329689"/>
                <a:gd name="T32" fmla="*/ 103336 w 1887854"/>
                <a:gd name="T33" fmla="*/ 949740 h 1329689"/>
                <a:gd name="T34" fmla="*/ 779522 w 1887854"/>
                <a:gd name="T35" fmla="*/ 953076 h 1329689"/>
                <a:gd name="T36" fmla="*/ 810456 w 1887854"/>
                <a:gd name="T37" fmla="*/ 1005686 h 1329689"/>
                <a:gd name="T38" fmla="*/ 524356 w 1887854"/>
                <a:gd name="T39" fmla="*/ 1045594 h 1329689"/>
                <a:gd name="T40" fmla="*/ 415687 w 1887854"/>
                <a:gd name="T41" fmla="*/ 1161054 h 1329689"/>
                <a:gd name="T42" fmla="*/ 436156 w 1887854"/>
                <a:gd name="T43" fmla="*/ 1267476 h 1329689"/>
                <a:gd name="T44" fmla="*/ 551721 w 1887854"/>
                <a:gd name="T45" fmla="*/ 1329425 h 1329689"/>
                <a:gd name="T46" fmla="*/ 923395 w 1887854"/>
                <a:gd name="T47" fmla="*/ 1309289 h 1329689"/>
                <a:gd name="T48" fmla="*/ 1046496 w 1887854"/>
                <a:gd name="T49" fmla="*/ 1209310 h 1329689"/>
                <a:gd name="T50" fmla="*/ 1097673 w 1887854"/>
                <a:gd name="T51" fmla="*/ 1052931 h 1329689"/>
                <a:gd name="T52" fmla="*/ 1123262 w 1887854"/>
                <a:gd name="T53" fmla="*/ 956309 h 1329689"/>
                <a:gd name="T54" fmla="*/ 1779135 w 1887854"/>
                <a:gd name="T55" fmla="*/ 949828 h 1329689"/>
                <a:gd name="T56" fmla="*/ 1884859 w 1887854"/>
                <a:gd name="T57" fmla="*/ 850983 h 1329689"/>
                <a:gd name="T58" fmla="*/ 1865158 w 1887854"/>
                <a:gd name="T59" fmla="*/ 749337 h 1329689"/>
                <a:gd name="T60" fmla="*/ 1751873 w 1887854"/>
                <a:gd name="T61" fmla="*/ 689329 h 1329689"/>
                <a:gd name="T62" fmla="*/ 1100169 w 1887854"/>
                <a:gd name="T63" fmla="*/ 663191 h 1329689"/>
                <a:gd name="T64" fmla="*/ 1098985 w 1887854"/>
                <a:gd name="T65" fmla="*/ 619698 h 1329689"/>
                <a:gd name="T66" fmla="*/ 1124981 w 1887854"/>
                <a:gd name="T67" fmla="*/ 599060 h 1329689"/>
                <a:gd name="T68" fmla="*/ 1603643 w 1887854"/>
                <a:gd name="T69" fmla="*/ 578382 h 1329689"/>
                <a:gd name="T70" fmla="*/ 1663603 w 1887854"/>
                <a:gd name="T71" fmla="*/ 469357 h 1329689"/>
                <a:gd name="T72" fmla="*/ 1603643 w 1887854"/>
                <a:gd name="T73" fmla="*/ 359297 h 1329689"/>
                <a:gd name="T74" fmla="*/ 1137577 w 1887854"/>
                <a:gd name="T75" fmla="*/ 336450 h 1329689"/>
                <a:gd name="T76" fmla="*/ 1097673 w 1887854"/>
                <a:gd name="T77" fmla="*/ 293823 h 1329689"/>
                <a:gd name="T78" fmla="*/ 1103446 w 1887854"/>
                <a:gd name="T79" fmla="*/ 259947 h 1329689"/>
                <a:gd name="T80" fmla="*/ 1641552 w 1887854"/>
                <a:gd name="T81" fmla="*/ 254390 h 1329689"/>
                <a:gd name="T82" fmla="*/ 1751692 w 1887854"/>
                <a:gd name="T83" fmla="*/ 191953 h 1329689"/>
                <a:gd name="T84" fmla="*/ 1771379 w 1887854"/>
                <a:gd name="T85" fmla="*/ 93647 h 1329689"/>
                <a:gd name="T86" fmla="*/ 1667429 w 1887854"/>
                <a:gd name="T87" fmla="*/ 1538 h 1329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87854" h="1329689">
                  <a:moveTo>
                    <a:pt x="1641552" y="0"/>
                  </a:moveTo>
                  <a:lnTo>
                    <a:pt x="268243" y="0"/>
                  </a:lnTo>
                  <a:lnTo>
                    <a:pt x="242340" y="1448"/>
                  </a:lnTo>
                  <a:lnTo>
                    <a:pt x="195884" y="16326"/>
                  </a:lnTo>
                  <a:lnTo>
                    <a:pt x="158085" y="51373"/>
                  </a:lnTo>
                  <a:lnTo>
                    <a:pt x="138409" y="95040"/>
                  </a:lnTo>
                  <a:lnTo>
                    <a:pt x="135953" y="120362"/>
                  </a:lnTo>
                  <a:lnTo>
                    <a:pt x="138409" y="146405"/>
                  </a:lnTo>
                  <a:lnTo>
                    <a:pt x="158085" y="193460"/>
                  </a:lnTo>
                  <a:lnTo>
                    <a:pt x="195884" y="231525"/>
                  </a:lnTo>
                  <a:lnTo>
                    <a:pt x="242340" y="251797"/>
                  </a:lnTo>
                  <a:lnTo>
                    <a:pt x="268243" y="254390"/>
                  </a:lnTo>
                  <a:lnTo>
                    <a:pt x="772206" y="254390"/>
                  </a:lnTo>
                  <a:lnTo>
                    <a:pt x="779522" y="254912"/>
                  </a:lnTo>
                  <a:lnTo>
                    <a:pt x="810027" y="286421"/>
                  </a:lnTo>
                  <a:lnTo>
                    <a:pt x="810456" y="293823"/>
                  </a:lnTo>
                  <a:lnTo>
                    <a:pt x="810456" y="309571"/>
                  </a:lnTo>
                  <a:lnTo>
                    <a:pt x="809397" y="322637"/>
                  </a:lnTo>
                  <a:lnTo>
                    <a:pt x="805495" y="330891"/>
                  </a:lnTo>
                  <a:lnTo>
                    <a:pt x="797659" y="335205"/>
                  </a:lnTo>
                  <a:lnTo>
                    <a:pt x="784803" y="336450"/>
                  </a:lnTo>
                  <a:lnTo>
                    <a:pt x="378491" y="336450"/>
                  </a:lnTo>
                  <a:lnTo>
                    <a:pt x="352584" y="339174"/>
                  </a:lnTo>
                  <a:lnTo>
                    <a:pt x="306126" y="359663"/>
                  </a:lnTo>
                  <a:lnTo>
                    <a:pt x="268324" y="396629"/>
                  </a:lnTo>
                  <a:lnTo>
                    <a:pt x="248656" y="443103"/>
                  </a:lnTo>
                  <a:lnTo>
                    <a:pt x="246201" y="469064"/>
                  </a:lnTo>
                  <a:lnTo>
                    <a:pt x="248656" y="494786"/>
                  </a:lnTo>
                  <a:lnTo>
                    <a:pt x="268324" y="540455"/>
                  </a:lnTo>
                  <a:lnTo>
                    <a:pt x="306126" y="577896"/>
                  </a:lnTo>
                  <a:lnTo>
                    <a:pt x="352584" y="596783"/>
                  </a:lnTo>
                  <a:lnTo>
                    <a:pt x="378491" y="599060"/>
                  </a:lnTo>
                  <a:lnTo>
                    <a:pt x="772206" y="599060"/>
                  </a:lnTo>
                  <a:lnTo>
                    <a:pt x="779522" y="600215"/>
                  </a:lnTo>
                  <a:lnTo>
                    <a:pt x="808374" y="630391"/>
                  </a:lnTo>
                  <a:lnTo>
                    <a:pt x="810456" y="646598"/>
                  </a:lnTo>
                  <a:lnTo>
                    <a:pt x="810456" y="662356"/>
                  </a:lnTo>
                  <a:lnTo>
                    <a:pt x="809397" y="675437"/>
                  </a:lnTo>
                  <a:lnTo>
                    <a:pt x="805495" y="683723"/>
                  </a:lnTo>
                  <a:lnTo>
                    <a:pt x="797659" y="688070"/>
                  </a:lnTo>
                  <a:lnTo>
                    <a:pt x="784803" y="689329"/>
                  </a:lnTo>
                  <a:lnTo>
                    <a:pt x="129137" y="689329"/>
                  </a:lnTo>
                  <a:lnTo>
                    <a:pt x="103336" y="692045"/>
                  </a:lnTo>
                  <a:lnTo>
                    <a:pt x="57675" y="712499"/>
                  </a:lnTo>
                  <a:lnTo>
                    <a:pt x="21260" y="749646"/>
                  </a:lnTo>
                  <a:lnTo>
                    <a:pt x="2362" y="797675"/>
                  </a:lnTo>
                  <a:lnTo>
                    <a:pt x="0" y="825021"/>
                  </a:lnTo>
                  <a:lnTo>
                    <a:pt x="2362" y="850648"/>
                  </a:lnTo>
                  <a:lnTo>
                    <a:pt x="21260" y="895542"/>
                  </a:lnTo>
                  <a:lnTo>
                    <a:pt x="57675" y="931609"/>
                  </a:lnTo>
                  <a:lnTo>
                    <a:pt x="103336" y="949740"/>
                  </a:lnTo>
                  <a:lnTo>
                    <a:pt x="129137" y="951929"/>
                  </a:lnTo>
                  <a:lnTo>
                    <a:pt x="772206" y="951929"/>
                  </a:lnTo>
                  <a:lnTo>
                    <a:pt x="779522" y="953076"/>
                  </a:lnTo>
                  <a:lnTo>
                    <a:pt x="808374" y="983976"/>
                  </a:lnTo>
                  <a:lnTo>
                    <a:pt x="810456" y="1002534"/>
                  </a:lnTo>
                  <a:lnTo>
                    <a:pt x="810456" y="1005686"/>
                  </a:lnTo>
                  <a:lnTo>
                    <a:pt x="786096" y="1041341"/>
                  </a:lnTo>
                  <a:lnTo>
                    <a:pt x="551721" y="1042198"/>
                  </a:lnTo>
                  <a:lnTo>
                    <a:pt x="524356" y="1045594"/>
                  </a:lnTo>
                  <a:lnTo>
                    <a:pt x="475521" y="1069758"/>
                  </a:lnTo>
                  <a:lnTo>
                    <a:pt x="436156" y="1110379"/>
                  </a:lnTo>
                  <a:lnTo>
                    <a:pt x="415687" y="1161054"/>
                  </a:lnTo>
                  <a:lnTo>
                    <a:pt x="413128" y="1188843"/>
                  </a:lnTo>
                  <a:lnTo>
                    <a:pt x="415687" y="1217473"/>
                  </a:lnTo>
                  <a:lnTo>
                    <a:pt x="436156" y="1267476"/>
                  </a:lnTo>
                  <a:lnTo>
                    <a:pt x="475521" y="1306861"/>
                  </a:lnTo>
                  <a:lnTo>
                    <a:pt x="524356" y="1326951"/>
                  </a:lnTo>
                  <a:lnTo>
                    <a:pt x="551721" y="1329425"/>
                  </a:lnTo>
                  <a:lnTo>
                    <a:pt x="816310" y="1329425"/>
                  </a:lnTo>
                  <a:lnTo>
                    <a:pt x="871423" y="1324858"/>
                  </a:lnTo>
                  <a:lnTo>
                    <a:pt x="923395" y="1309289"/>
                  </a:lnTo>
                  <a:lnTo>
                    <a:pt x="970632" y="1283785"/>
                  </a:lnTo>
                  <a:lnTo>
                    <a:pt x="1011602" y="1250412"/>
                  </a:lnTo>
                  <a:lnTo>
                    <a:pt x="1046496" y="1209310"/>
                  </a:lnTo>
                  <a:lnTo>
                    <a:pt x="1073537" y="1161116"/>
                  </a:lnTo>
                  <a:lnTo>
                    <a:pt x="1091106" y="1108205"/>
                  </a:lnTo>
                  <a:lnTo>
                    <a:pt x="1097673" y="1052931"/>
                  </a:lnTo>
                  <a:lnTo>
                    <a:pt x="1097673" y="1002534"/>
                  </a:lnTo>
                  <a:lnTo>
                    <a:pt x="1098231" y="993115"/>
                  </a:lnTo>
                  <a:lnTo>
                    <a:pt x="1123262" y="956309"/>
                  </a:lnTo>
                  <a:lnTo>
                    <a:pt x="1137577" y="951929"/>
                  </a:lnTo>
                  <a:lnTo>
                    <a:pt x="1751873" y="951929"/>
                  </a:lnTo>
                  <a:lnTo>
                    <a:pt x="1779135" y="949828"/>
                  </a:lnTo>
                  <a:lnTo>
                    <a:pt x="1827156" y="932081"/>
                  </a:lnTo>
                  <a:lnTo>
                    <a:pt x="1865158" y="896061"/>
                  </a:lnTo>
                  <a:lnTo>
                    <a:pt x="1884859" y="850983"/>
                  </a:lnTo>
                  <a:lnTo>
                    <a:pt x="1887324" y="825315"/>
                  </a:lnTo>
                  <a:lnTo>
                    <a:pt x="1884859" y="797853"/>
                  </a:lnTo>
                  <a:lnTo>
                    <a:pt x="1865158" y="749337"/>
                  </a:lnTo>
                  <a:lnTo>
                    <a:pt x="1827156" y="712145"/>
                  </a:lnTo>
                  <a:lnTo>
                    <a:pt x="1779135" y="691979"/>
                  </a:lnTo>
                  <a:lnTo>
                    <a:pt x="1751873" y="689329"/>
                  </a:lnTo>
                  <a:lnTo>
                    <a:pt x="1137577" y="689329"/>
                  </a:lnTo>
                  <a:lnTo>
                    <a:pt x="1130119" y="688797"/>
                  </a:lnTo>
                  <a:lnTo>
                    <a:pt x="1100169" y="663191"/>
                  </a:lnTo>
                  <a:lnTo>
                    <a:pt x="1097673" y="646598"/>
                  </a:lnTo>
                  <a:lnTo>
                    <a:pt x="1097673" y="634001"/>
                  </a:lnTo>
                  <a:lnTo>
                    <a:pt x="1098985" y="619698"/>
                  </a:lnTo>
                  <a:lnTo>
                    <a:pt x="1103446" y="608669"/>
                  </a:lnTo>
                  <a:lnTo>
                    <a:pt x="1111848" y="601571"/>
                  </a:lnTo>
                  <a:lnTo>
                    <a:pt x="1124981" y="599060"/>
                  </a:lnTo>
                  <a:lnTo>
                    <a:pt x="1531304" y="599060"/>
                  </a:lnTo>
                  <a:lnTo>
                    <a:pt x="1557182" y="596873"/>
                  </a:lnTo>
                  <a:lnTo>
                    <a:pt x="1603643" y="578382"/>
                  </a:lnTo>
                  <a:lnTo>
                    <a:pt x="1641450" y="540987"/>
                  </a:lnTo>
                  <a:lnTo>
                    <a:pt x="1661140" y="495123"/>
                  </a:lnTo>
                  <a:lnTo>
                    <a:pt x="1663603" y="469357"/>
                  </a:lnTo>
                  <a:lnTo>
                    <a:pt x="1661140" y="443279"/>
                  </a:lnTo>
                  <a:lnTo>
                    <a:pt x="1641450" y="396306"/>
                  </a:lnTo>
                  <a:lnTo>
                    <a:pt x="1603643" y="359297"/>
                  </a:lnTo>
                  <a:lnTo>
                    <a:pt x="1557182" y="339106"/>
                  </a:lnTo>
                  <a:lnTo>
                    <a:pt x="1531304" y="336450"/>
                  </a:lnTo>
                  <a:lnTo>
                    <a:pt x="1137577" y="336450"/>
                  </a:lnTo>
                  <a:lnTo>
                    <a:pt x="1130119" y="335926"/>
                  </a:lnTo>
                  <a:lnTo>
                    <a:pt x="1100169" y="310392"/>
                  </a:lnTo>
                  <a:lnTo>
                    <a:pt x="1097673" y="293823"/>
                  </a:lnTo>
                  <a:lnTo>
                    <a:pt x="1097673" y="281227"/>
                  </a:lnTo>
                  <a:lnTo>
                    <a:pt x="1098985" y="268190"/>
                  </a:lnTo>
                  <a:lnTo>
                    <a:pt x="1103446" y="259947"/>
                  </a:lnTo>
                  <a:lnTo>
                    <a:pt x="1111848" y="255635"/>
                  </a:lnTo>
                  <a:lnTo>
                    <a:pt x="1124981" y="254390"/>
                  </a:lnTo>
                  <a:lnTo>
                    <a:pt x="1641552" y="254390"/>
                  </a:lnTo>
                  <a:lnTo>
                    <a:pt x="1667429" y="251569"/>
                  </a:lnTo>
                  <a:lnTo>
                    <a:pt x="1713882" y="230293"/>
                  </a:lnTo>
                  <a:lnTo>
                    <a:pt x="1751692" y="191953"/>
                  </a:lnTo>
                  <a:lnTo>
                    <a:pt x="1771379" y="144693"/>
                  </a:lnTo>
                  <a:lnTo>
                    <a:pt x="1773841" y="118603"/>
                  </a:lnTo>
                  <a:lnTo>
                    <a:pt x="1771379" y="93647"/>
                  </a:lnTo>
                  <a:lnTo>
                    <a:pt x="1751692" y="51588"/>
                  </a:lnTo>
                  <a:lnTo>
                    <a:pt x="1713882" y="16812"/>
                  </a:lnTo>
                  <a:lnTo>
                    <a:pt x="1667429" y="1538"/>
                  </a:lnTo>
                  <a:lnTo>
                    <a:pt x="16415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object 5"/>
            <p:cNvSpPr>
              <a:spLocks noChangeArrowheads="1"/>
            </p:cNvSpPr>
            <p:nvPr userDrawn="1"/>
          </p:nvSpPr>
          <p:spPr bwMode="auto">
            <a:xfrm>
              <a:off x="9083675" y="3970338"/>
              <a:ext cx="998538" cy="890587"/>
            </a:xfrm>
            <a:custGeom>
              <a:avLst/>
              <a:gdLst>
                <a:gd name="T0" fmla="*/ 450405 w 998854"/>
                <a:gd name="T1" fmla="*/ 8084 h 890904"/>
                <a:gd name="T2" fmla="*/ 374033 w 998854"/>
                <a:gd name="T3" fmla="*/ 70806 h 890904"/>
                <a:gd name="T4" fmla="*/ 347642 w 998854"/>
                <a:gd name="T5" fmla="*/ 159526 h 890904"/>
                <a:gd name="T6" fmla="*/ 277862 w 998854"/>
                <a:gd name="T7" fmla="*/ 222912 h 890904"/>
                <a:gd name="T8" fmla="*/ 141754 w 998854"/>
                <a:gd name="T9" fmla="*/ 225511 h 890904"/>
                <a:gd name="T10" fmla="*/ 62594 w 998854"/>
                <a:gd name="T11" fmla="*/ 242575 h 890904"/>
                <a:gd name="T12" fmla="*/ 2558 w 998854"/>
                <a:gd name="T13" fmla="*/ 325110 h 890904"/>
                <a:gd name="T14" fmla="*/ 2558 w 998854"/>
                <a:gd name="T15" fmla="*/ 380222 h 890904"/>
                <a:gd name="T16" fmla="*/ 62594 w 998854"/>
                <a:gd name="T17" fmla="*/ 467421 h 890904"/>
                <a:gd name="T18" fmla="*/ 141754 w 998854"/>
                <a:gd name="T19" fmla="*/ 488121 h 890904"/>
                <a:gd name="T20" fmla="*/ 279459 w 998854"/>
                <a:gd name="T21" fmla="*/ 490188 h 890904"/>
                <a:gd name="T22" fmla="*/ 343964 w 998854"/>
                <a:gd name="T23" fmla="*/ 535349 h 890904"/>
                <a:gd name="T24" fmla="*/ 360512 w 998854"/>
                <a:gd name="T25" fmla="*/ 594557 h 890904"/>
                <a:gd name="T26" fmla="*/ 362958 w 998854"/>
                <a:gd name="T27" fmla="*/ 779419 h 890904"/>
                <a:gd name="T28" fmla="*/ 422324 w 998854"/>
                <a:gd name="T29" fmla="*/ 867615 h 890904"/>
                <a:gd name="T30" fmla="*/ 501178 w 998854"/>
                <a:gd name="T31" fmla="*/ 890643 h 890904"/>
                <a:gd name="T32" fmla="*/ 575418 w 998854"/>
                <a:gd name="T33" fmla="*/ 867615 h 890904"/>
                <a:gd name="T34" fmla="*/ 629664 w 998854"/>
                <a:gd name="T35" fmla="*/ 779419 h 890904"/>
                <a:gd name="T36" fmla="*/ 631321 w 998854"/>
                <a:gd name="T37" fmla="*/ 594557 h 890904"/>
                <a:gd name="T38" fmla="*/ 652012 w 998854"/>
                <a:gd name="T39" fmla="*/ 535349 h 890904"/>
                <a:gd name="T40" fmla="*/ 721407 w 998854"/>
                <a:gd name="T41" fmla="*/ 490188 h 890904"/>
                <a:gd name="T42" fmla="*/ 859910 w 998854"/>
                <a:gd name="T43" fmla="*/ 488121 h 890904"/>
                <a:gd name="T44" fmla="*/ 938137 w 998854"/>
                <a:gd name="T45" fmla="*/ 466144 h 890904"/>
                <a:gd name="T46" fmla="*/ 996030 w 998854"/>
                <a:gd name="T47" fmla="*/ 379457 h 890904"/>
                <a:gd name="T48" fmla="*/ 996030 w 998854"/>
                <a:gd name="T49" fmla="*/ 324584 h 890904"/>
                <a:gd name="T50" fmla="*/ 938137 w 998854"/>
                <a:gd name="T51" fmla="*/ 242575 h 890904"/>
                <a:gd name="T52" fmla="*/ 859910 w 998854"/>
                <a:gd name="T53" fmla="*/ 225511 h 890904"/>
                <a:gd name="T54" fmla="*/ 721897 w 998854"/>
                <a:gd name="T55" fmla="*/ 222897 h 890904"/>
                <a:gd name="T56" fmla="*/ 651219 w 998854"/>
                <a:gd name="T57" fmla="*/ 160896 h 890904"/>
                <a:gd name="T58" fmla="*/ 634188 w 998854"/>
                <a:gd name="T59" fmla="*/ 96240 h 890904"/>
                <a:gd name="T60" fmla="*/ 593741 w 998854"/>
                <a:gd name="T61" fmla="*/ 33831 h 890904"/>
                <a:gd name="T62" fmla="*/ 526699 w 998854"/>
                <a:gd name="T63" fmla="*/ 2186 h 890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98854" h="890904">
                  <a:moveTo>
                    <a:pt x="500822" y="0"/>
                  </a:moveTo>
                  <a:lnTo>
                    <a:pt x="450405" y="8084"/>
                  </a:lnTo>
                  <a:lnTo>
                    <a:pt x="406333" y="32700"/>
                  </a:lnTo>
                  <a:lnTo>
                    <a:pt x="374033" y="70806"/>
                  </a:lnTo>
                  <a:lnTo>
                    <a:pt x="354637" y="139661"/>
                  </a:lnTo>
                  <a:lnTo>
                    <a:pt x="347642" y="159526"/>
                  </a:lnTo>
                  <a:lnTo>
                    <a:pt x="326011" y="192800"/>
                  </a:lnTo>
                  <a:lnTo>
                    <a:pt x="277862" y="222912"/>
                  </a:lnTo>
                  <a:lnTo>
                    <a:pt x="258285" y="225511"/>
                  </a:lnTo>
                  <a:lnTo>
                    <a:pt x="141754" y="225511"/>
                  </a:lnTo>
                  <a:lnTo>
                    <a:pt x="112996" y="227032"/>
                  </a:lnTo>
                  <a:lnTo>
                    <a:pt x="62594" y="242575"/>
                  </a:lnTo>
                  <a:lnTo>
                    <a:pt x="23032" y="279161"/>
                  </a:lnTo>
                  <a:lnTo>
                    <a:pt x="2558" y="325110"/>
                  </a:lnTo>
                  <a:lnTo>
                    <a:pt x="0" y="351905"/>
                  </a:lnTo>
                  <a:lnTo>
                    <a:pt x="2558" y="380222"/>
                  </a:lnTo>
                  <a:lnTo>
                    <a:pt x="23032" y="428725"/>
                  </a:lnTo>
                  <a:lnTo>
                    <a:pt x="62594" y="467421"/>
                  </a:lnTo>
                  <a:lnTo>
                    <a:pt x="112996" y="485994"/>
                  </a:lnTo>
                  <a:lnTo>
                    <a:pt x="141754" y="488121"/>
                  </a:lnTo>
                  <a:lnTo>
                    <a:pt x="258285" y="488121"/>
                  </a:lnTo>
                  <a:lnTo>
                    <a:pt x="279459" y="490188"/>
                  </a:lnTo>
                  <a:lnTo>
                    <a:pt x="316178" y="506011"/>
                  </a:lnTo>
                  <a:lnTo>
                    <a:pt x="343964" y="535349"/>
                  </a:lnTo>
                  <a:lnTo>
                    <a:pt x="358630" y="573211"/>
                  </a:lnTo>
                  <a:lnTo>
                    <a:pt x="360512" y="594557"/>
                  </a:lnTo>
                  <a:lnTo>
                    <a:pt x="360512" y="752050"/>
                  </a:lnTo>
                  <a:lnTo>
                    <a:pt x="362958" y="779419"/>
                  </a:lnTo>
                  <a:lnTo>
                    <a:pt x="382935" y="828247"/>
                  </a:lnTo>
                  <a:lnTo>
                    <a:pt x="422324" y="867615"/>
                  </a:lnTo>
                  <a:lnTo>
                    <a:pt x="472480" y="888086"/>
                  </a:lnTo>
                  <a:lnTo>
                    <a:pt x="501178" y="890643"/>
                  </a:lnTo>
                  <a:lnTo>
                    <a:pt x="529002" y="888086"/>
                  </a:lnTo>
                  <a:lnTo>
                    <a:pt x="575418" y="867615"/>
                  </a:lnTo>
                  <a:lnTo>
                    <a:pt x="613174" y="828247"/>
                  </a:lnTo>
                  <a:lnTo>
                    <a:pt x="629664" y="779419"/>
                  </a:lnTo>
                  <a:lnTo>
                    <a:pt x="631321" y="752050"/>
                  </a:lnTo>
                  <a:lnTo>
                    <a:pt x="631321" y="594557"/>
                  </a:lnTo>
                  <a:lnTo>
                    <a:pt x="633972" y="573211"/>
                  </a:lnTo>
                  <a:lnTo>
                    <a:pt x="652012" y="535349"/>
                  </a:lnTo>
                  <a:lnTo>
                    <a:pt x="681327" y="506011"/>
                  </a:lnTo>
                  <a:lnTo>
                    <a:pt x="721407" y="490188"/>
                  </a:lnTo>
                  <a:lnTo>
                    <a:pt x="743359" y="488121"/>
                  </a:lnTo>
                  <a:lnTo>
                    <a:pt x="859910" y="488121"/>
                  </a:lnTo>
                  <a:lnTo>
                    <a:pt x="888529" y="485758"/>
                  </a:lnTo>
                  <a:lnTo>
                    <a:pt x="938137" y="466144"/>
                  </a:lnTo>
                  <a:lnTo>
                    <a:pt x="976339" y="427350"/>
                  </a:lnTo>
                  <a:lnTo>
                    <a:pt x="996030" y="379457"/>
                  </a:lnTo>
                  <a:lnTo>
                    <a:pt x="998493" y="351277"/>
                  </a:lnTo>
                  <a:lnTo>
                    <a:pt x="996030" y="324584"/>
                  </a:lnTo>
                  <a:lnTo>
                    <a:pt x="976339" y="279064"/>
                  </a:lnTo>
                  <a:lnTo>
                    <a:pt x="938137" y="242575"/>
                  </a:lnTo>
                  <a:lnTo>
                    <a:pt x="888529" y="227032"/>
                  </a:lnTo>
                  <a:lnTo>
                    <a:pt x="859910" y="225511"/>
                  </a:lnTo>
                  <a:lnTo>
                    <a:pt x="740207" y="225511"/>
                  </a:lnTo>
                  <a:lnTo>
                    <a:pt x="721897" y="222897"/>
                  </a:lnTo>
                  <a:lnTo>
                    <a:pt x="674063" y="192706"/>
                  </a:lnTo>
                  <a:lnTo>
                    <a:pt x="651219" y="160896"/>
                  </a:lnTo>
                  <a:lnTo>
                    <a:pt x="639425" y="121964"/>
                  </a:lnTo>
                  <a:lnTo>
                    <a:pt x="634188" y="96240"/>
                  </a:lnTo>
                  <a:lnTo>
                    <a:pt x="624833" y="72785"/>
                  </a:lnTo>
                  <a:lnTo>
                    <a:pt x="593741" y="33831"/>
                  </a:lnTo>
                  <a:lnTo>
                    <a:pt x="550807" y="8650"/>
                  </a:lnTo>
                  <a:lnTo>
                    <a:pt x="526699" y="2186"/>
                  </a:lnTo>
                  <a:lnTo>
                    <a:pt x="5008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4" name="object 6"/>
            <p:cNvSpPr>
              <a:spLocks noChangeArrowheads="1"/>
            </p:cNvSpPr>
            <p:nvPr userDrawn="1"/>
          </p:nvSpPr>
          <p:spPr bwMode="auto">
            <a:xfrm>
              <a:off x="8713788" y="3270250"/>
              <a:ext cx="2439987" cy="2995613"/>
            </a:xfrm>
            <a:custGeom>
              <a:avLst/>
              <a:gdLst>
                <a:gd name="T0" fmla="*/ 1306690 w 2439670"/>
                <a:gd name="T1" fmla="*/ 42519 h 2995929"/>
                <a:gd name="T2" fmla="*/ 1174064 w 2439670"/>
                <a:gd name="T3" fmla="*/ 2667 h 2995929"/>
                <a:gd name="T4" fmla="*/ 1061224 w 2439670"/>
                <a:gd name="T5" fmla="*/ 117830 h 2995929"/>
                <a:gd name="T6" fmla="*/ 1069505 w 2439670"/>
                <a:gd name="T7" fmla="*/ 209080 h 2995929"/>
                <a:gd name="T8" fmla="*/ 1204556 w 2439670"/>
                <a:gd name="T9" fmla="*/ 299237 h 2995929"/>
                <a:gd name="T10" fmla="*/ 1324762 w 2439670"/>
                <a:gd name="T11" fmla="*/ 234175 h 2995929"/>
                <a:gd name="T12" fmla="*/ 1345831 w 2439670"/>
                <a:gd name="T13" fmla="*/ 148043 h 2995929"/>
                <a:gd name="T14" fmla="*/ 1318056 w 2439670"/>
                <a:gd name="T15" fmla="*/ 1288275 h 2995929"/>
                <a:gd name="T16" fmla="*/ 1186611 w 2439670"/>
                <a:gd name="T17" fmla="*/ 1249883 h 2995929"/>
                <a:gd name="T18" fmla="*/ 1077620 w 2439670"/>
                <a:gd name="T19" fmla="*/ 1360335 h 2995929"/>
                <a:gd name="T20" fmla="*/ 1085354 w 2439670"/>
                <a:gd name="T21" fmla="*/ 1448130 h 2995929"/>
                <a:gd name="T22" fmla="*/ 1213916 w 2439670"/>
                <a:gd name="T23" fmla="*/ 1533956 h 2995929"/>
                <a:gd name="T24" fmla="*/ 1336421 w 2439670"/>
                <a:gd name="T25" fmla="*/ 1471561 h 2995929"/>
                <a:gd name="T26" fmla="*/ 1362252 w 2439670"/>
                <a:gd name="T27" fmla="*/ 1389062 h 2995929"/>
                <a:gd name="T28" fmla="*/ 2248712 w 2439670"/>
                <a:gd name="T29" fmla="*/ 391464 h 2995929"/>
                <a:gd name="T30" fmla="*/ 335203 w 2439670"/>
                <a:gd name="T31" fmla="*/ 342874 h 2995929"/>
                <a:gd name="T32" fmla="*/ 137947 w 2439670"/>
                <a:gd name="T33" fmla="*/ 410489 h 2995929"/>
                <a:gd name="T34" fmla="*/ 19570 w 2439670"/>
                <a:gd name="T35" fmla="*/ 567309 h 2995929"/>
                <a:gd name="T36" fmla="*/ 0 w 2439670"/>
                <a:gd name="T37" fmla="*/ 2850565 h 2995929"/>
                <a:gd name="T38" fmla="*/ 83870 w 2439670"/>
                <a:gd name="T39" fmla="*/ 2985478 h 2995929"/>
                <a:gd name="T40" fmla="*/ 218998 w 2439670"/>
                <a:gd name="T41" fmla="*/ 2972435 h 2995929"/>
                <a:gd name="T42" fmla="*/ 287223 w 2439670"/>
                <a:gd name="T43" fmla="*/ 775119 h 2995929"/>
                <a:gd name="T44" fmla="*/ 347002 w 2439670"/>
                <a:gd name="T45" fmla="*/ 674839 h 2995929"/>
                <a:gd name="T46" fmla="*/ 2146338 w 2439670"/>
                <a:gd name="T47" fmla="*/ 654710 h 2995929"/>
                <a:gd name="T48" fmla="*/ 2267318 w 2439670"/>
                <a:gd name="T49" fmla="*/ 585000 h 2995929"/>
                <a:gd name="T50" fmla="*/ 2412669 w 2439670"/>
                <a:gd name="T51" fmla="*/ 1389062 h 2995929"/>
                <a:gd name="T52" fmla="*/ 2334171 w 2439670"/>
                <a:gd name="T53" fmla="*/ 1257579 h 2995929"/>
                <a:gd name="T54" fmla="*/ 2208479 w 2439670"/>
                <a:gd name="T55" fmla="*/ 1270368 h 2995929"/>
                <a:gd name="T56" fmla="*/ 2150059 w 2439670"/>
                <a:gd name="T57" fmla="*/ 1389062 h 2995929"/>
                <a:gd name="T58" fmla="*/ 2187575 w 2439670"/>
                <a:gd name="T59" fmla="*/ 1493012 h 2995929"/>
                <a:gd name="T60" fmla="*/ 2311247 w 2439670"/>
                <a:gd name="T61" fmla="*/ 1531404 h 2995929"/>
                <a:gd name="T62" fmla="*/ 2411095 w 2439670"/>
                <a:gd name="T63" fmla="*/ 1422730 h 2995929"/>
                <a:gd name="T64" fmla="*/ 2439276 w 2439670"/>
                <a:gd name="T65" fmla="*/ 1048258 h 2995929"/>
                <a:gd name="T66" fmla="*/ 2352649 w 2439670"/>
                <a:gd name="T67" fmla="*/ 932192 h 2995929"/>
                <a:gd name="T68" fmla="*/ 2161400 w 2439670"/>
                <a:gd name="T69" fmla="*/ 922909 h 2995929"/>
                <a:gd name="T70" fmla="*/ 2080209 w 2439670"/>
                <a:gd name="T71" fmla="*/ 821969 h 2995929"/>
                <a:gd name="T72" fmla="*/ 2032952 w 2439670"/>
                <a:gd name="T73" fmla="*/ 733844 h 2995929"/>
                <a:gd name="T74" fmla="*/ 1912543 w 2439670"/>
                <a:gd name="T75" fmla="*/ 702017 h 2995929"/>
                <a:gd name="T76" fmla="*/ 1805076 w 2439670"/>
                <a:gd name="T77" fmla="*/ 793673 h 2995929"/>
                <a:gd name="T78" fmla="*/ 1766785 w 2439670"/>
                <a:gd name="T79" fmla="*/ 892810 h 2995929"/>
                <a:gd name="T80" fmla="*/ 1579384 w 2439670"/>
                <a:gd name="T81" fmla="*/ 925525 h 2995929"/>
                <a:gd name="T82" fmla="*/ 1462925 w 2439670"/>
                <a:gd name="T83" fmla="*/ 979170 h 2995929"/>
                <a:gd name="T84" fmla="*/ 1443240 w 2439670"/>
                <a:gd name="T85" fmla="*/ 1080223 h 2995929"/>
                <a:gd name="T86" fmla="*/ 1550720 w 2439670"/>
                <a:gd name="T87" fmla="*/ 1186002 h 2995929"/>
                <a:gd name="T88" fmla="*/ 1716227 w 2439670"/>
                <a:gd name="T89" fmla="*/ 1190193 h 2995929"/>
                <a:gd name="T90" fmla="*/ 1788985 w 2439670"/>
                <a:gd name="T91" fmla="*/ 1294574 h 2995929"/>
                <a:gd name="T92" fmla="*/ 1815706 w 2439670"/>
                <a:gd name="T93" fmla="*/ 1528254 h 2995929"/>
                <a:gd name="T94" fmla="*/ 1935734 w 2439670"/>
                <a:gd name="T95" fmla="*/ 1590649 h 2995929"/>
                <a:gd name="T96" fmla="*/ 2067928 w 2439670"/>
                <a:gd name="T97" fmla="*/ 1528254 h 2995929"/>
                <a:gd name="T98" fmla="*/ 2100821 w 2439670"/>
                <a:gd name="T99" fmla="*/ 1294574 h 2995929"/>
                <a:gd name="T100" fmla="*/ 2134654 w 2439670"/>
                <a:gd name="T101" fmla="*/ 1206017 h 2995929"/>
                <a:gd name="T102" fmla="*/ 2326271 w 2439670"/>
                <a:gd name="T103" fmla="*/ 1185773 h 2995929"/>
                <a:gd name="T104" fmla="*/ 2436711 w 2439670"/>
                <a:gd name="T105" fmla="*/ 1076921 h 2995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39670" h="2995929">
                  <a:moveTo>
                    <a:pt x="1345831" y="148043"/>
                  </a:moveTo>
                  <a:lnTo>
                    <a:pt x="1336890" y="90170"/>
                  </a:lnTo>
                  <a:lnTo>
                    <a:pt x="1306690" y="42519"/>
                  </a:lnTo>
                  <a:lnTo>
                    <a:pt x="1259890" y="10629"/>
                  </a:lnTo>
                  <a:lnTo>
                    <a:pt x="1202880" y="0"/>
                  </a:lnTo>
                  <a:lnTo>
                    <a:pt x="1174064" y="2667"/>
                  </a:lnTo>
                  <a:lnTo>
                    <a:pt x="1123111" y="23914"/>
                  </a:lnTo>
                  <a:lnTo>
                    <a:pt x="1082268" y="65062"/>
                  </a:lnTo>
                  <a:lnTo>
                    <a:pt x="1061224" y="117830"/>
                  </a:lnTo>
                  <a:lnTo>
                    <a:pt x="1058621" y="148043"/>
                  </a:lnTo>
                  <a:lnTo>
                    <a:pt x="1058621" y="151193"/>
                  </a:lnTo>
                  <a:lnTo>
                    <a:pt x="1069505" y="209080"/>
                  </a:lnTo>
                  <a:lnTo>
                    <a:pt x="1101661" y="256705"/>
                  </a:lnTo>
                  <a:lnTo>
                    <a:pt x="1148765" y="288607"/>
                  </a:lnTo>
                  <a:lnTo>
                    <a:pt x="1204556" y="299237"/>
                  </a:lnTo>
                  <a:lnTo>
                    <a:pt x="1234236" y="296570"/>
                  </a:lnTo>
                  <a:lnTo>
                    <a:pt x="1284681" y="275310"/>
                  </a:lnTo>
                  <a:lnTo>
                    <a:pt x="1324762" y="234175"/>
                  </a:lnTo>
                  <a:lnTo>
                    <a:pt x="1343698" y="181419"/>
                  </a:lnTo>
                  <a:lnTo>
                    <a:pt x="1345831" y="151193"/>
                  </a:lnTo>
                  <a:lnTo>
                    <a:pt x="1345831" y="148043"/>
                  </a:lnTo>
                  <a:close/>
                </a:path>
                <a:path w="2439670" h="2995929">
                  <a:moveTo>
                    <a:pt x="1362252" y="1389062"/>
                  </a:moveTo>
                  <a:lnTo>
                    <a:pt x="1350378" y="1333957"/>
                  </a:lnTo>
                  <a:lnTo>
                    <a:pt x="1318056" y="1288275"/>
                  </a:lnTo>
                  <a:lnTo>
                    <a:pt x="1270736" y="1257579"/>
                  </a:lnTo>
                  <a:lnTo>
                    <a:pt x="1214005" y="1247317"/>
                  </a:lnTo>
                  <a:lnTo>
                    <a:pt x="1186611" y="1249883"/>
                  </a:lnTo>
                  <a:lnTo>
                    <a:pt x="1137640" y="1270368"/>
                  </a:lnTo>
                  <a:lnTo>
                    <a:pt x="1098219" y="1309941"/>
                  </a:lnTo>
                  <a:lnTo>
                    <a:pt x="1077620" y="1360335"/>
                  </a:lnTo>
                  <a:lnTo>
                    <a:pt x="1075029" y="1389062"/>
                  </a:lnTo>
                  <a:lnTo>
                    <a:pt x="1075029" y="1395361"/>
                  </a:lnTo>
                  <a:lnTo>
                    <a:pt x="1085354" y="1448130"/>
                  </a:lnTo>
                  <a:lnTo>
                    <a:pt x="1116164" y="1493012"/>
                  </a:lnTo>
                  <a:lnTo>
                    <a:pt x="1161097" y="1523733"/>
                  </a:lnTo>
                  <a:lnTo>
                    <a:pt x="1213916" y="1533956"/>
                  </a:lnTo>
                  <a:lnTo>
                    <a:pt x="1243152" y="1531404"/>
                  </a:lnTo>
                  <a:lnTo>
                    <a:pt x="1295831" y="1510931"/>
                  </a:lnTo>
                  <a:lnTo>
                    <a:pt x="1336421" y="1471561"/>
                  </a:lnTo>
                  <a:lnTo>
                    <a:pt x="1359179" y="1422730"/>
                  </a:lnTo>
                  <a:lnTo>
                    <a:pt x="1362252" y="1395361"/>
                  </a:lnTo>
                  <a:lnTo>
                    <a:pt x="1362252" y="1389062"/>
                  </a:lnTo>
                  <a:close/>
                </a:path>
                <a:path w="2439670" h="2995929">
                  <a:moveTo>
                    <a:pt x="2291232" y="503072"/>
                  </a:moveTo>
                  <a:lnTo>
                    <a:pt x="2280602" y="442163"/>
                  </a:lnTo>
                  <a:lnTo>
                    <a:pt x="2248712" y="391464"/>
                  </a:lnTo>
                  <a:lnTo>
                    <a:pt x="2201849" y="356539"/>
                  </a:lnTo>
                  <a:lnTo>
                    <a:pt x="2146338" y="342874"/>
                  </a:lnTo>
                  <a:lnTo>
                    <a:pt x="335203" y="342874"/>
                  </a:lnTo>
                  <a:lnTo>
                    <a:pt x="264706" y="352437"/>
                  </a:lnTo>
                  <a:lnTo>
                    <a:pt x="198196" y="376174"/>
                  </a:lnTo>
                  <a:lnTo>
                    <a:pt x="137947" y="410489"/>
                  </a:lnTo>
                  <a:lnTo>
                    <a:pt x="86385" y="454240"/>
                  </a:lnTo>
                  <a:lnTo>
                    <a:pt x="48247" y="506450"/>
                  </a:lnTo>
                  <a:lnTo>
                    <a:pt x="19570" y="567309"/>
                  </a:lnTo>
                  <a:lnTo>
                    <a:pt x="2692" y="634479"/>
                  </a:lnTo>
                  <a:lnTo>
                    <a:pt x="0" y="705548"/>
                  </a:lnTo>
                  <a:lnTo>
                    <a:pt x="0" y="2850565"/>
                  </a:lnTo>
                  <a:lnTo>
                    <a:pt x="10490" y="2907385"/>
                  </a:lnTo>
                  <a:lnTo>
                    <a:pt x="42608" y="2954159"/>
                  </a:lnTo>
                  <a:lnTo>
                    <a:pt x="83870" y="2985478"/>
                  </a:lnTo>
                  <a:lnTo>
                    <a:pt x="134353" y="2995917"/>
                  </a:lnTo>
                  <a:lnTo>
                    <a:pt x="164630" y="2993313"/>
                  </a:lnTo>
                  <a:lnTo>
                    <a:pt x="218998" y="2972435"/>
                  </a:lnTo>
                  <a:lnTo>
                    <a:pt x="260565" y="2932036"/>
                  </a:lnTo>
                  <a:lnTo>
                    <a:pt x="284022" y="2880220"/>
                  </a:lnTo>
                  <a:lnTo>
                    <a:pt x="287223" y="775119"/>
                  </a:lnTo>
                  <a:lnTo>
                    <a:pt x="289585" y="751357"/>
                  </a:lnTo>
                  <a:lnTo>
                    <a:pt x="308419" y="710996"/>
                  </a:lnTo>
                  <a:lnTo>
                    <a:pt x="347002" y="674839"/>
                  </a:lnTo>
                  <a:lnTo>
                    <a:pt x="395300" y="656666"/>
                  </a:lnTo>
                  <a:lnTo>
                    <a:pt x="423405" y="654710"/>
                  </a:lnTo>
                  <a:lnTo>
                    <a:pt x="2146338" y="654710"/>
                  </a:lnTo>
                  <a:lnTo>
                    <a:pt x="2175167" y="651357"/>
                  </a:lnTo>
                  <a:lnTo>
                    <a:pt x="2226360" y="626999"/>
                  </a:lnTo>
                  <a:lnTo>
                    <a:pt x="2267318" y="585000"/>
                  </a:lnTo>
                  <a:lnTo>
                    <a:pt x="2288578" y="532269"/>
                  </a:lnTo>
                  <a:lnTo>
                    <a:pt x="2291232" y="503072"/>
                  </a:lnTo>
                  <a:close/>
                </a:path>
                <a:path w="2439670" h="2995929">
                  <a:moveTo>
                    <a:pt x="2412669" y="1389062"/>
                  </a:moveTo>
                  <a:lnTo>
                    <a:pt x="2405138" y="1333957"/>
                  </a:lnTo>
                  <a:lnTo>
                    <a:pt x="2377148" y="1288275"/>
                  </a:lnTo>
                  <a:lnTo>
                    <a:pt x="2334171" y="1257579"/>
                  </a:lnTo>
                  <a:lnTo>
                    <a:pt x="2281783" y="1247317"/>
                  </a:lnTo>
                  <a:lnTo>
                    <a:pt x="2254948" y="1249883"/>
                  </a:lnTo>
                  <a:lnTo>
                    <a:pt x="2208479" y="1270368"/>
                  </a:lnTo>
                  <a:lnTo>
                    <a:pt x="2170188" y="1309941"/>
                  </a:lnTo>
                  <a:lnTo>
                    <a:pt x="2152078" y="1360335"/>
                  </a:lnTo>
                  <a:lnTo>
                    <a:pt x="2150059" y="1389062"/>
                  </a:lnTo>
                  <a:lnTo>
                    <a:pt x="2150059" y="1395361"/>
                  </a:lnTo>
                  <a:lnTo>
                    <a:pt x="2158581" y="1448130"/>
                  </a:lnTo>
                  <a:lnTo>
                    <a:pt x="2187575" y="1493012"/>
                  </a:lnTo>
                  <a:lnTo>
                    <a:pt x="2231593" y="1523733"/>
                  </a:lnTo>
                  <a:lnTo>
                    <a:pt x="2283498" y="1533956"/>
                  </a:lnTo>
                  <a:lnTo>
                    <a:pt x="2311247" y="1531404"/>
                  </a:lnTo>
                  <a:lnTo>
                    <a:pt x="2357323" y="1510931"/>
                  </a:lnTo>
                  <a:lnTo>
                    <a:pt x="2394928" y="1471561"/>
                  </a:lnTo>
                  <a:lnTo>
                    <a:pt x="2411095" y="1422730"/>
                  </a:lnTo>
                  <a:lnTo>
                    <a:pt x="2412669" y="1395361"/>
                  </a:lnTo>
                  <a:lnTo>
                    <a:pt x="2412669" y="1389062"/>
                  </a:lnTo>
                  <a:close/>
                </a:path>
                <a:path w="2439670" h="2995929">
                  <a:moveTo>
                    <a:pt x="2439276" y="1048258"/>
                  </a:moveTo>
                  <a:lnTo>
                    <a:pt x="2429027" y="999083"/>
                  </a:lnTo>
                  <a:lnTo>
                    <a:pt x="2398318" y="958545"/>
                  </a:lnTo>
                  <a:lnTo>
                    <a:pt x="2352649" y="932192"/>
                  </a:lnTo>
                  <a:lnTo>
                    <a:pt x="2297531" y="925525"/>
                  </a:lnTo>
                  <a:lnTo>
                    <a:pt x="2180983" y="925525"/>
                  </a:lnTo>
                  <a:lnTo>
                    <a:pt x="2161400" y="922909"/>
                  </a:lnTo>
                  <a:lnTo>
                    <a:pt x="2127529" y="905383"/>
                  </a:lnTo>
                  <a:lnTo>
                    <a:pt x="2091601" y="860907"/>
                  </a:lnTo>
                  <a:lnTo>
                    <a:pt x="2080209" y="821969"/>
                  </a:lnTo>
                  <a:lnTo>
                    <a:pt x="2074862" y="796251"/>
                  </a:lnTo>
                  <a:lnTo>
                    <a:pt x="2065210" y="772795"/>
                  </a:lnTo>
                  <a:lnTo>
                    <a:pt x="2032952" y="733844"/>
                  </a:lnTo>
                  <a:lnTo>
                    <a:pt x="1988845" y="708660"/>
                  </a:lnTo>
                  <a:lnTo>
                    <a:pt x="1938451" y="700011"/>
                  </a:lnTo>
                  <a:lnTo>
                    <a:pt x="1912543" y="702017"/>
                  </a:lnTo>
                  <a:lnTo>
                    <a:pt x="1866099" y="718299"/>
                  </a:lnTo>
                  <a:lnTo>
                    <a:pt x="1827898" y="750493"/>
                  </a:lnTo>
                  <a:lnTo>
                    <a:pt x="1805076" y="793673"/>
                  </a:lnTo>
                  <a:lnTo>
                    <a:pt x="1796618" y="839673"/>
                  </a:lnTo>
                  <a:lnTo>
                    <a:pt x="1790014" y="859536"/>
                  </a:lnTo>
                  <a:lnTo>
                    <a:pt x="1766785" y="892810"/>
                  </a:lnTo>
                  <a:lnTo>
                    <a:pt x="1734896" y="915860"/>
                  </a:lnTo>
                  <a:lnTo>
                    <a:pt x="1699069" y="925525"/>
                  </a:lnTo>
                  <a:lnTo>
                    <a:pt x="1579384" y="925525"/>
                  </a:lnTo>
                  <a:lnTo>
                    <a:pt x="1550720" y="927036"/>
                  </a:lnTo>
                  <a:lnTo>
                    <a:pt x="1501114" y="942581"/>
                  </a:lnTo>
                  <a:lnTo>
                    <a:pt x="1462925" y="979170"/>
                  </a:lnTo>
                  <a:lnTo>
                    <a:pt x="1443240" y="1025118"/>
                  </a:lnTo>
                  <a:lnTo>
                    <a:pt x="1440789" y="1051902"/>
                  </a:lnTo>
                  <a:lnTo>
                    <a:pt x="1443240" y="1080223"/>
                  </a:lnTo>
                  <a:lnTo>
                    <a:pt x="1462925" y="1128725"/>
                  </a:lnTo>
                  <a:lnTo>
                    <a:pt x="1501114" y="1167422"/>
                  </a:lnTo>
                  <a:lnTo>
                    <a:pt x="1550720" y="1186002"/>
                  </a:lnTo>
                  <a:lnTo>
                    <a:pt x="1579384" y="1188135"/>
                  </a:lnTo>
                  <a:lnTo>
                    <a:pt x="1695919" y="1188135"/>
                  </a:lnTo>
                  <a:lnTo>
                    <a:pt x="1716227" y="1190193"/>
                  </a:lnTo>
                  <a:lnTo>
                    <a:pt x="1764499" y="1219301"/>
                  </a:lnTo>
                  <a:lnTo>
                    <a:pt x="1784223" y="1253413"/>
                  </a:lnTo>
                  <a:lnTo>
                    <a:pt x="1788985" y="1294574"/>
                  </a:lnTo>
                  <a:lnTo>
                    <a:pt x="1788985" y="1452054"/>
                  </a:lnTo>
                  <a:lnTo>
                    <a:pt x="1792287" y="1479435"/>
                  </a:lnTo>
                  <a:lnTo>
                    <a:pt x="1815706" y="1528254"/>
                  </a:lnTo>
                  <a:lnTo>
                    <a:pt x="1855177" y="1567624"/>
                  </a:lnTo>
                  <a:lnTo>
                    <a:pt x="1906663" y="1588096"/>
                  </a:lnTo>
                  <a:lnTo>
                    <a:pt x="1935734" y="1590649"/>
                  </a:lnTo>
                  <a:lnTo>
                    <a:pt x="1966290" y="1588096"/>
                  </a:lnTo>
                  <a:lnTo>
                    <a:pt x="2024710" y="1567624"/>
                  </a:lnTo>
                  <a:lnTo>
                    <a:pt x="2067928" y="1528254"/>
                  </a:lnTo>
                  <a:lnTo>
                    <a:pt x="2096427" y="1479435"/>
                  </a:lnTo>
                  <a:lnTo>
                    <a:pt x="2100821" y="1452054"/>
                  </a:lnTo>
                  <a:lnTo>
                    <a:pt x="2100821" y="1294574"/>
                  </a:lnTo>
                  <a:lnTo>
                    <a:pt x="2101075" y="1273225"/>
                  </a:lnTo>
                  <a:lnTo>
                    <a:pt x="2108936" y="1235354"/>
                  </a:lnTo>
                  <a:lnTo>
                    <a:pt x="2134654" y="1206017"/>
                  </a:lnTo>
                  <a:lnTo>
                    <a:pt x="2184133" y="1188135"/>
                  </a:lnTo>
                  <a:lnTo>
                    <a:pt x="2297531" y="1188135"/>
                  </a:lnTo>
                  <a:lnTo>
                    <a:pt x="2326271" y="1185773"/>
                  </a:lnTo>
                  <a:lnTo>
                    <a:pt x="2376665" y="1166152"/>
                  </a:lnTo>
                  <a:lnTo>
                    <a:pt x="2416225" y="1126883"/>
                  </a:lnTo>
                  <a:lnTo>
                    <a:pt x="2436711" y="1076921"/>
                  </a:lnTo>
                  <a:lnTo>
                    <a:pt x="2439276" y="10482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5" name="object 7"/>
            <p:cNvSpPr>
              <a:spLocks noChangeArrowheads="1"/>
            </p:cNvSpPr>
            <p:nvPr userDrawn="1"/>
          </p:nvSpPr>
          <p:spPr bwMode="auto">
            <a:xfrm>
              <a:off x="11455400" y="3736975"/>
              <a:ext cx="947738" cy="2436813"/>
            </a:xfrm>
            <a:custGeom>
              <a:avLst/>
              <a:gdLst>
                <a:gd name="T0" fmla="*/ 413225 w 948054"/>
                <a:gd name="T1" fmla="*/ 11223 h 2436495"/>
                <a:gd name="T2" fmla="*/ 324716 w 948054"/>
                <a:gd name="T3" fmla="*/ 95209 h 2436495"/>
                <a:gd name="T4" fmla="*/ 311215 w 948054"/>
                <a:gd name="T5" fmla="*/ 362502 h 2436495"/>
                <a:gd name="T6" fmla="*/ 294023 w 948054"/>
                <a:gd name="T7" fmla="*/ 430568 h 2436495"/>
                <a:gd name="T8" fmla="*/ 217799 w 948054"/>
                <a:gd name="T9" fmla="*/ 481351 h 2436495"/>
                <a:gd name="T10" fmla="*/ 156288 w 948054"/>
                <a:gd name="T11" fmla="*/ 483189 h 2436495"/>
                <a:gd name="T12" fmla="*/ 68680 w 948054"/>
                <a:gd name="T13" fmla="*/ 510842 h 2436495"/>
                <a:gd name="T14" fmla="*/ 2804 w 948054"/>
                <a:gd name="T15" fmla="*/ 611639 h 2436495"/>
                <a:gd name="T16" fmla="*/ 2804 w 948054"/>
                <a:gd name="T17" fmla="*/ 675928 h 2436495"/>
                <a:gd name="T18" fmla="*/ 68680 w 948054"/>
                <a:gd name="T19" fmla="*/ 776645 h 2436495"/>
                <a:gd name="T20" fmla="*/ 156288 w 948054"/>
                <a:gd name="T21" fmla="*/ 803242 h 2436495"/>
                <a:gd name="T22" fmla="*/ 217799 w 948054"/>
                <a:gd name="T23" fmla="*/ 805393 h 2436495"/>
                <a:gd name="T24" fmla="*/ 294023 w 948054"/>
                <a:gd name="T25" fmla="*/ 858157 h 2436495"/>
                <a:gd name="T26" fmla="*/ 311215 w 948054"/>
                <a:gd name="T27" fmla="*/ 927856 h 2436495"/>
                <a:gd name="T28" fmla="*/ 304074 w 948054"/>
                <a:gd name="T29" fmla="*/ 1157861 h 2436495"/>
                <a:gd name="T30" fmla="*/ 239898 w 948054"/>
                <a:gd name="T31" fmla="*/ 1228039 h 2436495"/>
                <a:gd name="T32" fmla="*/ 156288 w 948054"/>
                <a:gd name="T33" fmla="*/ 1238171 h 2436495"/>
                <a:gd name="T34" fmla="*/ 68680 w 948054"/>
                <a:gd name="T35" fmla="*/ 1261734 h 2436495"/>
                <a:gd name="T36" fmla="*/ 2804 w 948054"/>
                <a:gd name="T37" fmla="*/ 1359734 h 2436495"/>
                <a:gd name="T38" fmla="*/ 2804 w 948054"/>
                <a:gd name="T39" fmla="*/ 1422928 h 2436495"/>
                <a:gd name="T40" fmla="*/ 68680 w 948054"/>
                <a:gd name="T41" fmla="*/ 1519070 h 2436495"/>
                <a:gd name="T42" fmla="*/ 156288 w 948054"/>
                <a:gd name="T43" fmla="*/ 1541806 h 2436495"/>
                <a:gd name="T44" fmla="*/ 217799 w 948054"/>
                <a:gd name="T45" fmla="*/ 1544482 h 2436495"/>
                <a:gd name="T46" fmla="*/ 294023 w 948054"/>
                <a:gd name="T47" fmla="*/ 1600613 h 2436495"/>
                <a:gd name="T48" fmla="*/ 311215 w 948054"/>
                <a:gd name="T49" fmla="*/ 1673153 h 2436495"/>
                <a:gd name="T50" fmla="*/ 304074 w 948054"/>
                <a:gd name="T51" fmla="*/ 2029925 h 2436495"/>
                <a:gd name="T52" fmla="*/ 239898 w 948054"/>
                <a:gd name="T53" fmla="*/ 2098915 h 2436495"/>
                <a:gd name="T54" fmla="*/ 166277 w 948054"/>
                <a:gd name="T55" fmla="*/ 2108040 h 2436495"/>
                <a:gd name="T56" fmla="*/ 79581 w 948054"/>
                <a:gd name="T57" fmla="*/ 2134010 h 2436495"/>
                <a:gd name="T58" fmla="*/ 15998 w 948054"/>
                <a:gd name="T59" fmla="*/ 2233658 h 2436495"/>
                <a:gd name="T60" fmla="*/ 15998 w 948054"/>
                <a:gd name="T61" fmla="*/ 2298509 h 2436495"/>
                <a:gd name="T62" fmla="*/ 79581 w 948054"/>
                <a:gd name="T63" fmla="*/ 2405467 h 2436495"/>
                <a:gd name="T64" fmla="*/ 166277 w 948054"/>
                <a:gd name="T65" fmla="*/ 2436292 h 2436495"/>
                <a:gd name="T66" fmla="*/ 381180 w 948054"/>
                <a:gd name="T67" fmla="*/ 2427407 h 2436495"/>
                <a:gd name="T68" fmla="*/ 495083 w 948054"/>
                <a:gd name="T69" fmla="*/ 2375209 h 2436495"/>
                <a:gd name="T70" fmla="*/ 581788 w 948054"/>
                <a:gd name="T71" fmla="*/ 2288016 h 2436495"/>
                <a:gd name="T72" fmla="*/ 632161 w 948054"/>
                <a:gd name="T73" fmla="*/ 2174440 h 2436495"/>
                <a:gd name="T74" fmla="*/ 639467 w 948054"/>
                <a:gd name="T75" fmla="*/ 1639887 h 2436495"/>
                <a:gd name="T76" fmla="*/ 663937 w 948054"/>
                <a:gd name="T77" fmla="*/ 1572559 h 2436495"/>
                <a:gd name="T78" fmla="*/ 728312 w 948054"/>
                <a:gd name="T79" fmla="*/ 1541806 h 2436495"/>
                <a:gd name="T80" fmla="*/ 829829 w 948054"/>
                <a:gd name="T81" fmla="*/ 1539183 h 2436495"/>
                <a:gd name="T82" fmla="*/ 924409 w 948054"/>
                <a:gd name="T83" fmla="*/ 1471028 h 2436495"/>
                <a:gd name="T84" fmla="*/ 947803 w 948054"/>
                <a:gd name="T85" fmla="*/ 1382575 h 2436495"/>
                <a:gd name="T86" fmla="*/ 924409 w 948054"/>
                <a:gd name="T87" fmla="*/ 1299069 h 2436495"/>
                <a:gd name="T88" fmla="*/ 829829 w 948054"/>
                <a:gd name="T89" fmla="*/ 1240361 h 2436495"/>
                <a:gd name="T90" fmla="*/ 761557 w 948054"/>
                <a:gd name="T91" fmla="*/ 1238171 h 2436495"/>
                <a:gd name="T92" fmla="*/ 692899 w 948054"/>
                <a:gd name="T93" fmla="*/ 1215921 h 2436495"/>
                <a:gd name="T94" fmla="*/ 641414 w 948054"/>
                <a:gd name="T95" fmla="*/ 1133680 h 2436495"/>
                <a:gd name="T96" fmla="*/ 639467 w 948054"/>
                <a:gd name="T97" fmla="*/ 894601 h 2436495"/>
                <a:gd name="T98" fmla="*/ 692795 w 948054"/>
                <a:gd name="T99" fmla="*/ 809881 h 2436495"/>
                <a:gd name="T100" fmla="*/ 798143 w 948054"/>
                <a:gd name="T101" fmla="*/ 803242 h 2436495"/>
                <a:gd name="T102" fmla="*/ 883871 w 948054"/>
                <a:gd name="T103" fmla="*/ 775381 h 2436495"/>
                <a:gd name="T104" fmla="*/ 945201 w 948054"/>
                <a:gd name="T105" fmla="*/ 671166 h 2436495"/>
                <a:gd name="T106" fmla="*/ 945201 w 948054"/>
                <a:gd name="T107" fmla="*/ 606801 h 2436495"/>
                <a:gd name="T108" fmla="*/ 883871 w 948054"/>
                <a:gd name="T109" fmla="*/ 509163 h 2436495"/>
                <a:gd name="T110" fmla="*/ 798143 w 948054"/>
                <a:gd name="T111" fmla="*/ 483189 h 2436495"/>
                <a:gd name="T112" fmla="*/ 736319 w 948054"/>
                <a:gd name="T113" fmla="*/ 481351 h 2436495"/>
                <a:gd name="T114" fmla="*/ 658228 w 948054"/>
                <a:gd name="T115" fmla="*/ 430568 h 2436495"/>
                <a:gd name="T116" fmla="*/ 639467 w 948054"/>
                <a:gd name="T117" fmla="*/ 362502 h 2436495"/>
                <a:gd name="T118" fmla="*/ 636219 w 948054"/>
                <a:gd name="T119" fmla="*/ 124412 h 2436495"/>
                <a:gd name="T120" fmla="*/ 566059 w 948054"/>
                <a:gd name="T121" fmla="*/ 25254 h 2436495"/>
                <a:gd name="T122" fmla="*/ 476634 w 948054"/>
                <a:gd name="T123" fmla="*/ 0 h 2436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48054" h="2436495">
                  <a:moveTo>
                    <a:pt x="476634" y="0"/>
                  </a:moveTo>
                  <a:lnTo>
                    <a:pt x="413225" y="11223"/>
                  </a:lnTo>
                  <a:lnTo>
                    <a:pt x="360669" y="44899"/>
                  </a:lnTo>
                  <a:lnTo>
                    <a:pt x="324716" y="95209"/>
                  </a:lnTo>
                  <a:lnTo>
                    <a:pt x="311215" y="156309"/>
                  </a:lnTo>
                  <a:lnTo>
                    <a:pt x="311215" y="362502"/>
                  </a:lnTo>
                  <a:lnTo>
                    <a:pt x="309555" y="387630"/>
                  </a:lnTo>
                  <a:lnTo>
                    <a:pt x="294023" y="430568"/>
                  </a:lnTo>
                  <a:lnTo>
                    <a:pt x="259931" y="465020"/>
                  </a:lnTo>
                  <a:lnTo>
                    <a:pt x="217799" y="481351"/>
                  </a:lnTo>
                  <a:lnTo>
                    <a:pt x="192884" y="483189"/>
                  </a:lnTo>
                  <a:lnTo>
                    <a:pt x="156288" y="483189"/>
                  </a:lnTo>
                  <a:lnTo>
                    <a:pt x="124373" y="486440"/>
                  </a:lnTo>
                  <a:lnTo>
                    <a:pt x="68680" y="510842"/>
                  </a:lnTo>
                  <a:lnTo>
                    <a:pt x="25245" y="554948"/>
                  </a:lnTo>
                  <a:lnTo>
                    <a:pt x="2804" y="611639"/>
                  </a:lnTo>
                  <a:lnTo>
                    <a:pt x="0" y="643760"/>
                  </a:lnTo>
                  <a:lnTo>
                    <a:pt x="2804" y="675928"/>
                  </a:lnTo>
                  <a:lnTo>
                    <a:pt x="25245" y="732712"/>
                  </a:lnTo>
                  <a:lnTo>
                    <a:pt x="68680" y="776645"/>
                  </a:lnTo>
                  <a:lnTo>
                    <a:pt x="124373" y="800188"/>
                  </a:lnTo>
                  <a:lnTo>
                    <a:pt x="156288" y="803242"/>
                  </a:lnTo>
                  <a:lnTo>
                    <a:pt x="192884" y="803242"/>
                  </a:lnTo>
                  <a:lnTo>
                    <a:pt x="217799" y="805393"/>
                  </a:lnTo>
                  <a:lnTo>
                    <a:pt x="259931" y="823085"/>
                  </a:lnTo>
                  <a:lnTo>
                    <a:pt x="294023" y="858157"/>
                  </a:lnTo>
                  <a:lnTo>
                    <a:pt x="309555" y="902445"/>
                  </a:lnTo>
                  <a:lnTo>
                    <a:pt x="311215" y="927856"/>
                  </a:lnTo>
                  <a:lnTo>
                    <a:pt x="311215" y="1107788"/>
                  </a:lnTo>
                  <a:lnTo>
                    <a:pt x="304074" y="1157861"/>
                  </a:lnTo>
                  <a:lnTo>
                    <a:pt x="278651" y="1199586"/>
                  </a:lnTo>
                  <a:lnTo>
                    <a:pt x="239898" y="1228039"/>
                  </a:lnTo>
                  <a:lnTo>
                    <a:pt x="192884" y="1238171"/>
                  </a:lnTo>
                  <a:lnTo>
                    <a:pt x="156288" y="1238171"/>
                  </a:lnTo>
                  <a:lnTo>
                    <a:pt x="124373" y="1240664"/>
                  </a:lnTo>
                  <a:lnTo>
                    <a:pt x="68680" y="1261734"/>
                  </a:lnTo>
                  <a:lnTo>
                    <a:pt x="25245" y="1304709"/>
                  </a:lnTo>
                  <a:lnTo>
                    <a:pt x="2804" y="1359734"/>
                  </a:lnTo>
                  <a:lnTo>
                    <a:pt x="0" y="1391475"/>
                  </a:lnTo>
                  <a:lnTo>
                    <a:pt x="2804" y="1422928"/>
                  </a:lnTo>
                  <a:lnTo>
                    <a:pt x="25245" y="1476566"/>
                  </a:lnTo>
                  <a:lnTo>
                    <a:pt x="68680" y="1519070"/>
                  </a:lnTo>
                  <a:lnTo>
                    <a:pt x="124373" y="1539467"/>
                  </a:lnTo>
                  <a:lnTo>
                    <a:pt x="156288" y="1541806"/>
                  </a:lnTo>
                  <a:lnTo>
                    <a:pt x="192884" y="1541806"/>
                  </a:lnTo>
                  <a:lnTo>
                    <a:pt x="217799" y="1544482"/>
                  </a:lnTo>
                  <a:lnTo>
                    <a:pt x="259931" y="1564485"/>
                  </a:lnTo>
                  <a:lnTo>
                    <a:pt x="294023" y="1600613"/>
                  </a:lnTo>
                  <a:lnTo>
                    <a:pt x="309555" y="1647216"/>
                  </a:lnTo>
                  <a:lnTo>
                    <a:pt x="311215" y="1673153"/>
                  </a:lnTo>
                  <a:lnTo>
                    <a:pt x="311215" y="1983363"/>
                  </a:lnTo>
                  <a:lnTo>
                    <a:pt x="304074" y="2029925"/>
                  </a:lnTo>
                  <a:lnTo>
                    <a:pt x="278651" y="2070659"/>
                  </a:lnTo>
                  <a:lnTo>
                    <a:pt x="239898" y="2098915"/>
                  </a:lnTo>
                  <a:lnTo>
                    <a:pt x="192884" y="2108040"/>
                  </a:lnTo>
                  <a:lnTo>
                    <a:pt x="166277" y="2108040"/>
                  </a:lnTo>
                  <a:lnTo>
                    <a:pt x="134452" y="2110978"/>
                  </a:lnTo>
                  <a:lnTo>
                    <a:pt x="79581" y="2134010"/>
                  </a:lnTo>
                  <a:lnTo>
                    <a:pt x="37611" y="2177657"/>
                  </a:lnTo>
                  <a:lnTo>
                    <a:pt x="15998" y="2233658"/>
                  </a:lnTo>
                  <a:lnTo>
                    <a:pt x="13298" y="2265627"/>
                  </a:lnTo>
                  <a:lnTo>
                    <a:pt x="15998" y="2298509"/>
                  </a:lnTo>
                  <a:lnTo>
                    <a:pt x="37611" y="2358836"/>
                  </a:lnTo>
                  <a:lnTo>
                    <a:pt x="79581" y="2405467"/>
                  </a:lnTo>
                  <a:lnTo>
                    <a:pt x="134452" y="2432526"/>
                  </a:lnTo>
                  <a:lnTo>
                    <a:pt x="166277" y="2436292"/>
                  </a:lnTo>
                  <a:lnTo>
                    <a:pt x="319257" y="2436292"/>
                  </a:lnTo>
                  <a:lnTo>
                    <a:pt x="381180" y="2427407"/>
                  </a:lnTo>
                  <a:lnTo>
                    <a:pt x="440646" y="2406052"/>
                  </a:lnTo>
                  <a:lnTo>
                    <a:pt x="495083" y="2375209"/>
                  </a:lnTo>
                  <a:lnTo>
                    <a:pt x="542067" y="2335216"/>
                  </a:lnTo>
                  <a:lnTo>
                    <a:pt x="581788" y="2288016"/>
                  </a:lnTo>
                  <a:lnTo>
                    <a:pt x="612400" y="2234109"/>
                  </a:lnTo>
                  <a:lnTo>
                    <a:pt x="632161" y="2174440"/>
                  </a:lnTo>
                  <a:lnTo>
                    <a:pt x="639467" y="2109736"/>
                  </a:lnTo>
                  <a:lnTo>
                    <a:pt x="639467" y="1639887"/>
                  </a:lnTo>
                  <a:lnTo>
                    <a:pt x="640792" y="1621739"/>
                  </a:lnTo>
                  <a:lnTo>
                    <a:pt x="663937" y="1572559"/>
                  </a:lnTo>
                  <a:lnTo>
                    <a:pt x="709522" y="1543967"/>
                  </a:lnTo>
                  <a:lnTo>
                    <a:pt x="728312" y="1541806"/>
                  </a:lnTo>
                  <a:lnTo>
                    <a:pt x="798143" y="1541806"/>
                  </a:lnTo>
                  <a:lnTo>
                    <a:pt x="829829" y="1539183"/>
                  </a:lnTo>
                  <a:lnTo>
                    <a:pt x="883871" y="1516786"/>
                  </a:lnTo>
                  <a:lnTo>
                    <a:pt x="924409" y="1471028"/>
                  </a:lnTo>
                  <a:lnTo>
                    <a:pt x="945201" y="1414514"/>
                  </a:lnTo>
                  <a:lnTo>
                    <a:pt x="947803" y="1382575"/>
                  </a:lnTo>
                  <a:lnTo>
                    <a:pt x="945201" y="1351300"/>
                  </a:lnTo>
                  <a:lnTo>
                    <a:pt x="924409" y="1299069"/>
                  </a:lnTo>
                  <a:lnTo>
                    <a:pt x="883871" y="1259348"/>
                  </a:lnTo>
                  <a:lnTo>
                    <a:pt x="829829" y="1240361"/>
                  </a:lnTo>
                  <a:lnTo>
                    <a:pt x="798143" y="1238171"/>
                  </a:lnTo>
                  <a:lnTo>
                    <a:pt x="761557" y="1238171"/>
                  </a:lnTo>
                  <a:lnTo>
                    <a:pt x="736319" y="1235578"/>
                  </a:lnTo>
                  <a:lnTo>
                    <a:pt x="692899" y="1215921"/>
                  </a:lnTo>
                  <a:lnTo>
                    <a:pt x="658228" y="1179955"/>
                  </a:lnTo>
                  <a:lnTo>
                    <a:pt x="641414" y="1133680"/>
                  </a:lnTo>
                  <a:lnTo>
                    <a:pt x="639467" y="1107788"/>
                  </a:lnTo>
                  <a:lnTo>
                    <a:pt x="639467" y="894601"/>
                  </a:lnTo>
                  <a:lnTo>
                    <a:pt x="652618" y="845152"/>
                  </a:lnTo>
                  <a:lnTo>
                    <a:pt x="692795" y="809881"/>
                  </a:lnTo>
                  <a:lnTo>
                    <a:pt x="728312" y="803242"/>
                  </a:lnTo>
                  <a:lnTo>
                    <a:pt x="798143" y="803242"/>
                  </a:lnTo>
                  <a:lnTo>
                    <a:pt x="829829" y="800092"/>
                  </a:lnTo>
                  <a:lnTo>
                    <a:pt x="883871" y="775381"/>
                  </a:lnTo>
                  <a:lnTo>
                    <a:pt x="924409" y="728839"/>
                  </a:lnTo>
                  <a:lnTo>
                    <a:pt x="945201" y="671166"/>
                  </a:lnTo>
                  <a:lnTo>
                    <a:pt x="947803" y="638964"/>
                  </a:lnTo>
                  <a:lnTo>
                    <a:pt x="945201" y="606801"/>
                  </a:lnTo>
                  <a:lnTo>
                    <a:pt x="924409" y="550660"/>
                  </a:lnTo>
                  <a:lnTo>
                    <a:pt x="883871" y="509163"/>
                  </a:lnTo>
                  <a:lnTo>
                    <a:pt x="829829" y="486267"/>
                  </a:lnTo>
                  <a:lnTo>
                    <a:pt x="798143" y="483189"/>
                  </a:lnTo>
                  <a:lnTo>
                    <a:pt x="761557" y="483189"/>
                  </a:lnTo>
                  <a:lnTo>
                    <a:pt x="736319" y="481351"/>
                  </a:lnTo>
                  <a:lnTo>
                    <a:pt x="692899" y="465020"/>
                  </a:lnTo>
                  <a:lnTo>
                    <a:pt x="658228" y="430568"/>
                  </a:lnTo>
                  <a:lnTo>
                    <a:pt x="641414" y="387630"/>
                  </a:lnTo>
                  <a:lnTo>
                    <a:pt x="639467" y="362502"/>
                  </a:lnTo>
                  <a:lnTo>
                    <a:pt x="639467" y="156309"/>
                  </a:lnTo>
                  <a:lnTo>
                    <a:pt x="636219" y="124412"/>
                  </a:lnTo>
                  <a:lnTo>
                    <a:pt x="611465" y="68703"/>
                  </a:lnTo>
                  <a:lnTo>
                    <a:pt x="566059" y="25254"/>
                  </a:lnTo>
                  <a:lnTo>
                    <a:pt x="508792" y="2805"/>
                  </a:lnTo>
                  <a:lnTo>
                    <a:pt x="4766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6" name="object 8"/>
            <p:cNvSpPr>
              <a:spLocks noChangeArrowheads="1"/>
            </p:cNvSpPr>
            <p:nvPr userDrawn="1"/>
          </p:nvSpPr>
          <p:spPr bwMode="auto">
            <a:xfrm>
              <a:off x="12174538" y="3443288"/>
              <a:ext cx="2033587" cy="2806700"/>
            </a:xfrm>
            <a:custGeom>
              <a:avLst/>
              <a:gdLst>
                <a:gd name="T0" fmla="*/ 1609966 w 2033905"/>
                <a:gd name="T1" fmla="*/ 2058797 h 2806700"/>
                <a:gd name="T2" fmla="*/ 1609991 w 2033905"/>
                <a:gd name="T3" fmla="*/ 2362441 h 2806700"/>
                <a:gd name="T4" fmla="*/ 1578444 w 2033905"/>
                <a:gd name="T5" fmla="*/ 2062302 h 2806700"/>
                <a:gd name="T6" fmla="*/ 1485773 w 2033905"/>
                <a:gd name="T7" fmla="*/ 2294763 h 2806700"/>
                <a:gd name="T8" fmla="*/ 1732178 w 2033905"/>
                <a:gd name="T9" fmla="*/ 2295194 h 2806700"/>
                <a:gd name="T10" fmla="*/ 1939251 w 2033905"/>
                <a:gd name="T11" fmla="*/ 1193800 h 2806700"/>
                <a:gd name="T12" fmla="*/ 1766900 w 2033905"/>
                <a:gd name="T13" fmla="*/ 1130300 h 2806700"/>
                <a:gd name="T14" fmla="*/ 1730527 w 2033905"/>
                <a:gd name="T15" fmla="*/ 952500 h 2806700"/>
                <a:gd name="T16" fmla="*/ 1544942 w 2033905"/>
                <a:gd name="T17" fmla="*/ 749300 h 2806700"/>
                <a:gd name="T18" fmla="*/ 1437030 w 2033905"/>
                <a:gd name="T19" fmla="*/ 1600200 h 2806700"/>
                <a:gd name="T20" fmla="*/ 1204328 w 2033905"/>
                <a:gd name="T21" fmla="*/ 1612900 h 2806700"/>
                <a:gd name="T22" fmla="*/ 1193482 w 2033905"/>
                <a:gd name="T23" fmla="*/ 1524000 h 2806700"/>
                <a:gd name="T24" fmla="*/ 1420291 w 2033905"/>
                <a:gd name="T25" fmla="*/ 1485900 h 2806700"/>
                <a:gd name="T26" fmla="*/ 1439456 w 2033905"/>
                <a:gd name="T27" fmla="*/ 736600 h 2806700"/>
                <a:gd name="T28" fmla="*/ 1423530 w 2033905"/>
                <a:gd name="T29" fmla="*/ 1181100 h 2806700"/>
                <a:gd name="T30" fmla="*/ 1193139 w 2033905"/>
                <a:gd name="T31" fmla="*/ 1130300 h 2806700"/>
                <a:gd name="T32" fmla="*/ 1211541 w 2033905"/>
                <a:gd name="T33" fmla="*/ 1054100 h 2806700"/>
                <a:gd name="T34" fmla="*/ 1439329 w 2033905"/>
                <a:gd name="T35" fmla="*/ 736600 h 2806700"/>
                <a:gd name="T36" fmla="*/ 1194003 w 2033905"/>
                <a:gd name="T37" fmla="*/ 685800 h 2806700"/>
                <a:gd name="T38" fmla="*/ 1794687 w 2033905"/>
                <a:gd name="T39" fmla="*/ 571500 h 2806700"/>
                <a:gd name="T40" fmla="*/ 1914436 w 2033905"/>
                <a:gd name="T41" fmla="*/ 457200 h 2806700"/>
                <a:gd name="T42" fmla="*/ 1276794 w 2033905"/>
                <a:gd name="T43" fmla="*/ 266700 h 2806700"/>
                <a:gd name="T44" fmla="*/ 1194625 w 2033905"/>
                <a:gd name="T45" fmla="*/ 177800 h 2806700"/>
                <a:gd name="T46" fmla="*/ 1096949 w 2033905"/>
                <a:gd name="T47" fmla="*/ 12700 h 2806700"/>
                <a:gd name="T48" fmla="*/ 905916 w 2033905"/>
                <a:gd name="T49" fmla="*/ 152400 h 2806700"/>
                <a:gd name="T50" fmla="*/ 846226 w 2033905"/>
                <a:gd name="T51" fmla="*/ 254000 h 2806700"/>
                <a:gd name="T52" fmla="*/ 212852 w 2033905"/>
                <a:gd name="T53" fmla="*/ 317500 h 2806700"/>
                <a:gd name="T54" fmla="*/ 181660 w 2033905"/>
                <a:gd name="T55" fmla="*/ 482600 h 2806700"/>
                <a:gd name="T56" fmla="*/ 317601 w 2033905"/>
                <a:gd name="T57" fmla="*/ 584200 h 2806700"/>
                <a:gd name="T58" fmla="*/ 895604 w 2033905"/>
                <a:gd name="T59" fmla="*/ 698500 h 2806700"/>
                <a:gd name="T60" fmla="*/ 452272 w 2033905"/>
                <a:gd name="T61" fmla="*/ 749300 h 2806700"/>
                <a:gd name="T62" fmla="*/ 360832 w 2033905"/>
                <a:gd name="T63" fmla="*/ 889000 h 2806700"/>
                <a:gd name="T64" fmla="*/ 452272 w 2033905"/>
                <a:gd name="T65" fmla="*/ 1028700 h 2806700"/>
                <a:gd name="T66" fmla="*/ 905916 w 2033905"/>
                <a:gd name="T67" fmla="*/ 1130300 h 2806700"/>
                <a:gd name="T68" fmla="*/ 285584 w 2033905"/>
                <a:gd name="T69" fmla="*/ 1193800 h 2806700"/>
                <a:gd name="T70" fmla="*/ 191223 w 2033905"/>
                <a:gd name="T71" fmla="*/ 1333500 h 2806700"/>
                <a:gd name="T72" fmla="*/ 862914 w 2033905"/>
                <a:gd name="T73" fmla="*/ 1485900 h 2806700"/>
                <a:gd name="T74" fmla="*/ 905916 w 2033905"/>
                <a:gd name="T75" fmla="*/ 1524000 h 2806700"/>
                <a:gd name="T76" fmla="*/ 874191 w 2033905"/>
                <a:gd name="T77" fmla="*/ 1612900 h 2806700"/>
                <a:gd name="T78" fmla="*/ 360832 w 2033905"/>
                <a:gd name="T79" fmla="*/ 1765300 h 2806700"/>
                <a:gd name="T80" fmla="*/ 510489 w 2033905"/>
                <a:gd name="T81" fmla="*/ 1905000 h 2806700"/>
                <a:gd name="T82" fmla="*/ 890612 w 2033905"/>
                <a:gd name="T83" fmla="*/ 2006600 h 2806700"/>
                <a:gd name="T84" fmla="*/ 862076 w 2033905"/>
                <a:gd name="T85" fmla="*/ 2451100 h 2806700"/>
                <a:gd name="T86" fmla="*/ 654888 w 2033905"/>
                <a:gd name="T87" fmla="*/ 2463800 h 2806700"/>
                <a:gd name="T88" fmla="*/ 605624 w 2033905"/>
                <a:gd name="T89" fmla="*/ 2425700 h 2806700"/>
                <a:gd name="T90" fmla="*/ 548132 w 2033905"/>
                <a:gd name="T91" fmla="*/ 2324100 h 2806700"/>
                <a:gd name="T92" fmla="*/ 584923 w 2033905"/>
                <a:gd name="T93" fmla="*/ 2133600 h 2806700"/>
                <a:gd name="T94" fmla="*/ 367487 w 2033905"/>
                <a:gd name="T95" fmla="*/ 2019300 h 2806700"/>
                <a:gd name="T96" fmla="*/ 257606 w 2033905"/>
                <a:gd name="T97" fmla="*/ 2209800 h 2806700"/>
                <a:gd name="T98" fmla="*/ 100368 w 2033905"/>
                <a:gd name="T99" fmla="*/ 2476500 h 2806700"/>
                <a:gd name="T100" fmla="*/ 0 w 2033905"/>
                <a:gd name="T101" fmla="*/ 2679700 h 2806700"/>
                <a:gd name="T102" fmla="*/ 217805 w 2033905"/>
                <a:gd name="T103" fmla="*/ 2794000 h 2806700"/>
                <a:gd name="T104" fmla="*/ 351167 w 2033905"/>
                <a:gd name="T105" fmla="*/ 2679700 h 2806700"/>
                <a:gd name="T106" fmla="*/ 518896 w 2033905"/>
                <a:gd name="T107" fmla="*/ 2730500 h 2806700"/>
                <a:gd name="T108" fmla="*/ 1866519 w 2033905"/>
                <a:gd name="T109" fmla="*/ 2794000 h 2806700"/>
                <a:gd name="T110" fmla="*/ 1955787 w 2033905"/>
                <a:gd name="T111" fmla="*/ 2667000 h 2806700"/>
                <a:gd name="T112" fmla="*/ 1839709 w 2033905"/>
                <a:gd name="T113" fmla="*/ 2514600 h 2806700"/>
                <a:gd name="T114" fmla="*/ 1193139 w 2033905"/>
                <a:gd name="T115" fmla="*/ 2362200 h 2806700"/>
                <a:gd name="T116" fmla="*/ 1252270 w 2033905"/>
                <a:gd name="T117" fmla="*/ 1930400 h 2806700"/>
                <a:gd name="T118" fmla="*/ 1586318 w 2033905"/>
                <a:gd name="T119" fmla="*/ 1879600 h 2806700"/>
                <a:gd name="T120" fmla="*/ 1739912 w 2033905"/>
                <a:gd name="T121" fmla="*/ 1663700 h 2806700"/>
                <a:gd name="T122" fmla="*/ 1783549 w 2033905"/>
                <a:gd name="T123" fmla="*/ 1524000 h 2806700"/>
                <a:gd name="T124" fmla="*/ 1965147 w 2033905"/>
                <a:gd name="T125" fmla="*/ 1460500 h 2806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3905" h="2806700">
                  <a:moveTo>
                    <a:pt x="1609966" y="2058797"/>
                  </a:moveTo>
                  <a:lnTo>
                    <a:pt x="1605572" y="2058797"/>
                  </a:lnTo>
                  <a:lnTo>
                    <a:pt x="1606638" y="2058936"/>
                  </a:lnTo>
                  <a:lnTo>
                    <a:pt x="1607756" y="2058962"/>
                  </a:lnTo>
                  <a:lnTo>
                    <a:pt x="1608899" y="2058936"/>
                  </a:lnTo>
                  <a:lnTo>
                    <a:pt x="1609966" y="2058797"/>
                  </a:lnTo>
                  <a:close/>
                </a:path>
                <a:path w="2033905" h="2806700">
                  <a:moveTo>
                    <a:pt x="1609991" y="2362441"/>
                  </a:moveTo>
                  <a:lnTo>
                    <a:pt x="1608937" y="2362301"/>
                  </a:lnTo>
                  <a:lnTo>
                    <a:pt x="1607807" y="2362289"/>
                  </a:lnTo>
                  <a:lnTo>
                    <a:pt x="1606677" y="2362301"/>
                  </a:lnTo>
                  <a:lnTo>
                    <a:pt x="1605597" y="2362441"/>
                  </a:lnTo>
                  <a:lnTo>
                    <a:pt x="1609991" y="2362441"/>
                  </a:lnTo>
                  <a:close/>
                </a:path>
                <a:path w="2033905" h="2806700">
                  <a:moveTo>
                    <a:pt x="1757438" y="2208123"/>
                  </a:moveTo>
                  <a:lnTo>
                    <a:pt x="1746211" y="2151672"/>
                  </a:lnTo>
                  <a:lnTo>
                    <a:pt x="1712544" y="2103526"/>
                  </a:lnTo>
                  <a:lnTo>
                    <a:pt x="1664474" y="2071039"/>
                  </a:lnTo>
                  <a:lnTo>
                    <a:pt x="1607756" y="2058962"/>
                  </a:lnTo>
                  <a:lnTo>
                    <a:pt x="1578444" y="2062302"/>
                  </a:lnTo>
                  <a:lnTo>
                    <a:pt x="1526895" y="2084666"/>
                  </a:lnTo>
                  <a:lnTo>
                    <a:pt x="1485773" y="2126069"/>
                  </a:lnTo>
                  <a:lnTo>
                    <a:pt x="1464157" y="2178037"/>
                  </a:lnTo>
                  <a:lnTo>
                    <a:pt x="1461465" y="2207031"/>
                  </a:lnTo>
                  <a:lnTo>
                    <a:pt x="1464157" y="2239048"/>
                  </a:lnTo>
                  <a:lnTo>
                    <a:pt x="1485773" y="2294763"/>
                  </a:lnTo>
                  <a:lnTo>
                    <a:pt x="1526908" y="2336647"/>
                  </a:lnTo>
                  <a:lnTo>
                    <a:pt x="1578483" y="2358974"/>
                  </a:lnTo>
                  <a:lnTo>
                    <a:pt x="1607807" y="2362289"/>
                  </a:lnTo>
                  <a:lnTo>
                    <a:pt x="1637220" y="2359025"/>
                  </a:lnTo>
                  <a:lnTo>
                    <a:pt x="1689608" y="2336901"/>
                  </a:lnTo>
                  <a:lnTo>
                    <a:pt x="1732178" y="2295194"/>
                  </a:lnTo>
                  <a:lnTo>
                    <a:pt x="1754632" y="2240013"/>
                  </a:lnTo>
                  <a:lnTo>
                    <a:pt x="1757438" y="2208123"/>
                  </a:lnTo>
                  <a:close/>
                </a:path>
                <a:path w="2033905" h="2806700">
                  <a:moveTo>
                    <a:pt x="2033638" y="1333500"/>
                  </a:moveTo>
                  <a:lnTo>
                    <a:pt x="2022411" y="1282700"/>
                  </a:lnTo>
                  <a:lnTo>
                    <a:pt x="1988743" y="1231900"/>
                  </a:lnTo>
                  <a:lnTo>
                    <a:pt x="1939251" y="1193800"/>
                  </a:lnTo>
                  <a:lnTo>
                    <a:pt x="1911083" y="1193800"/>
                  </a:lnTo>
                  <a:lnTo>
                    <a:pt x="1880641" y="1181100"/>
                  </a:lnTo>
                  <a:lnTo>
                    <a:pt x="1826272" y="1181100"/>
                  </a:lnTo>
                  <a:lnTo>
                    <a:pt x="1803488" y="1168400"/>
                  </a:lnTo>
                  <a:lnTo>
                    <a:pt x="1783549" y="1143000"/>
                  </a:lnTo>
                  <a:lnTo>
                    <a:pt x="1766900" y="1130300"/>
                  </a:lnTo>
                  <a:lnTo>
                    <a:pt x="1754098" y="1104900"/>
                  </a:lnTo>
                  <a:lnTo>
                    <a:pt x="1745869" y="1079500"/>
                  </a:lnTo>
                  <a:lnTo>
                    <a:pt x="1742960" y="1054100"/>
                  </a:lnTo>
                  <a:lnTo>
                    <a:pt x="1742960" y="1041400"/>
                  </a:lnTo>
                  <a:lnTo>
                    <a:pt x="1739912" y="990600"/>
                  </a:lnTo>
                  <a:lnTo>
                    <a:pt x="1730527" y="952500"/>
                  </a:lnTo>
                  <a:lnTo>
                    <a:pt x="1714411" y="901700"/>
                  </a:lnTo>
                  <a:lnTo>
                    <a:pt x="1691195" y="863600"/>
                  </a:lnTo>
                  <a:lnTo>
                    <a:pt x="1660486" y="825500"/>
                  </a:lnTo>
                  <a:lnTo>
                    <a:pt x="1624698" y="800100"/>
                  </a:lnTo>
                  <a:lnTo>
                    <a:pt x="1586318" y="774700"/>
                  </a:lnTo>
                  <a:lnTo>
                    <a:pt x="1544942" y="749300"/>
                  </a:lnTo>
                  <a:lnTo>
                    <a:pt x="1500174" y="736600"/>
                  </a:lnTo>
                  <a:lnTo>
                    <a:pt x="1439456" y="736600"/>
                  </a:lnTo>
                  <a:lnTo>
                    <a:pt x="1439456" y="1524000"/>
                  </a:lnTo>
                  <a:lnTo>
                    <a:pt x="1439456" y="1587500"/>
                  </a:lnTo>
                  <a:lnTo>
                    <a:pt x="1439062" y="1587500"/>
                  </a:lnTo>
                  <a:lnTo>
                    <a:pt x="1437030" y="1600200"/>
                  </a:lnTo>
                  <a:lnTo>
                    <a:pt x="1432191" y="1612900"/>
                  </a:lnTo>
                  <a:lnTo>
                    <a:pt x="1426070" y="1612900"/>
                  </a:lnTo>
                  <a:lnTo>
                    <a:pt x="1420291" y="1625600"/>
                  </a:lnTo>
                  <a:lnTo>
                    <a:pt x="1218653" y="1625600"/>
                  </a:lnTo>
                  <a:lnTo>
                    <a:pt x="1211541" y="1612900"/>
                  </a:lnTo>
                  <a:lnTo>
                    <a:pt x="1204328" y="1612900"/>
                  </a:lnTo>
                  <a:lnTo>
                    <a:pt x="1198372" y="1600200"/>
                  </a:lnTo>
                  <a:lnTo>
                    <a:pt x="1194993" y="1587500"/>
                  </a:lnTo>
                  <a:lnTo>
                    <a:pt x="1193482" y="1587500"/>
                  </a:lnTo>
                  <a:lnTo>
                    <a:pt x="1193139" y="1574800"/>
                  </a:lnTo>
                  <a:lnTo>
                    <a:pt x="1193139" y="1524000"/>
                  </a:lnTo>
                  <a:lnTo>
                    <a:pt x="1193482" y="1524000"/>
                  </a:lnTo>
                  <a:lnTo>
                    <a:pt x="1194993" y="1511300"/>
                  </a:lnTo>
                  <a:lnTo>
                    <a:pt x="1198372" y="1511300"/>
                  </a:lnTo>
                  <a:lnTo>
                    <a:pt x="1204328" y="1498600"/>
                  </a:lnTo>
                  <a:lnTo>
                    <a:pt x="1211541" y="1498600"/>
                  </a:lnTo>
                  <a:lnTo>
                    <a:pt x="1218653" y="1485900"/>
                  </a:lnTo>
                  <a:lnTo>
                    <a:pt x="1420291" y="1485900"/>
                  </a:lnTo>
                  <a:lnTo>
                    <a:pt x="1426070" y="1498600"/>
                  </a:lnTo>
                  <a:lnTo>
                    <a:pt x="1432191" y="1498600"/>
                  </a:lnTo>
                  <a:lnTo>
                    <a:pt x="1437030" y="1511300"/>
                  </a:lnTo>
                  <a:lnTo>
                    <a:pt x="1439062" y="1511300"/>
                  </a:lnTo>
                  <a:lnTo>
                    <a:pt x="1439456" y="1524000"/>
                  </a:lnTo>
                  <a:lnTo>
                    <a:pt x="1439456" y="736600"/>
                  </a:lnTo>
                  <a:lnTo>
                    <a:pt x="1439329" y="736600"/>
                  </a:lnTo>
                  <a:lnTo>
                    <a:pt x="1439329" y="1092200"/>
                  </a:lnTo>
                  <a:lnTo>
                    <a:pt x="1439329" y="1130300"/>
                  </a:lnTo>
                  <a:lnTo>
                    <a:pt x="1438338" y="1155700"/>
                  </a:lnTo>
                  <a:lnTo>
                    <a:pt x="1433842" y="1168400"/>
                  </a:lnTo>
                  <a:lnTo>
                    <a:pt x="1423530" y="1181100"/>
                  </a:lnTo>
                  <a:lnTo>
                    <a:pt x="1211541" y="1181100"/>
                  </a:lnTo>
                  <a:lnTo>
                    <a:pt x="1204328" y="1168400"/>
                  </a:lnTo>
                  <a:lnTo>
                    <a:pt x="1198372" y="1155700"/>
                  </a:lnTo>
                  <a:lnTo>
                    <a:pt x="1194993" y="1155700"/>
                  </a:lnTo>
                  <a:lnTo>
                    <a:pt x="1193482" y="1143000"/>
                  </a:lnTo>
                  <a:lnTo>
                    <a:pt x="1193139" y="1130300"/>
                  </a:lnTo>
                  <a:lnTo>
                    <a:pt x="1193139" y="1092200"/>
                  </a:lnTo>
                  <a:lnTo>
                    <a:pt x="1193482" y="1079500"/>
                  </a:lnTo>
                  <a:lnTo>
                    <a:pt x="1194993" y="1066800"/>
                  </a:lnTo>
                  <a:lnTo>
                    <a:pt x="1198372" y="1066800"/>
                  </a:lnTo>
                  <a:lnTo>
                    <a:pt x="1204328" y="1054100"/>
                  </a:lnTo>
                  <a:lnTo>
                    <a:pt x="1211541" y="1054100"/>
                  </a:lnTo>
                  <a:lnTo>
                    <a:pt x="1218653" y="1041400"/>
                  </a:lnTo>
                  <a:lnTo>
                    <a:pt x="1423530" y="1041400"/>
                  </a:lnTo>
                  <a:lnTo>
                    <a:pt x="1433842" y="1054100"/>
                  </a:lnTo>
                  <a:lnTo>
                    <a:pt x="1438338" y="1066800"/>
                  </a:lnTo>
                  <a:lnTo>
                    <a:pt x="1439329" y="1092200"/>
                  </a:lnTo>
                  <a:lnTo>
                    <a:pt x="1439329" y="736600"/>
                  </a:lnTo>
                  <a:lnTo>
                    <a:pt x="1236510" y="736600"/>
                  </a:lnTo>
                  <a:lnTo>
                    <a:pt x="1224305" y="723900"/>
                  </a:lnTo>
                  <a:lnTo>
                    <a:pt x="1212646" y="711200"/>
                  </a:lnTo>
                  <a:lnTo>
                    <a:pt x="1203045" y="698500"/>
                  </a:lnTo>
                  <a:lnTo>
                    <a:pt x="1197063" y="698500"/>
                  </a:lnTo>
                  <a:lnTo>
                    <a:pt x="1194003" y="685800"/>
                  </a:lnTo>
                  <a:lnTo>
                    <a:pt x="1193139" y="660400"/>
                  </a:lnTo>
                  <a:lnTo>
                    <a:pt x="1193139" y="647700"/>
                  </a:lnTo>
                  <a:lnTo>
                    <a:pt x="1203045" y="609600"/>
                  </a:lnTo>
                  <a:lnTo>
                    <a:pt x="1224305" y="584200"/>
                  </a:lnTo>
                  <a:lnTo>
                    <a:pt x="1764258" y="584200"/>
                  </a:lnTo>
                  <a:lnTo>
                    <a:pt x="1794687" y="571500"/>
                  </a:lnTo>
                  <a:lnTo>
                    <a:pt x="1822856" y="571500"/>
                  </a:lnTo>
                  <a:lnTo>
                    <a:pt x="1848751" y="546100"/>
                  </a:lnTo>
                  <a:lnTo>
                    <a:pt x="1872335" y="533400"/>
                  </a:lnTo>
                  <a:lnTo>
                    <a:pt x="1891982" y="508000"/>
                  </a:lnTo>
                  <a:lnTo>
                    <a:pt x="1906016" y="482600"/>
                  </a:lnTo>
                  <a:lnTo>
                    <a:pt x="1914436" y="457200"/>
                  </a:lnTo>
                  <a:lnTo>
                    <a:pt x="1917242" y="431800"/>
                  </a:lnTo>
                  <a:lnTo>
                    <a:pt x="1914436" y="393700"/>
                  </a:lnTo>
                  <a:lnTo>
                    <a:pt x="1891982" y="342900"/>
                  </a:lnTo>
                  <a:lnTo>
                    <a:pt x="1848751" y="292100"/>
                  </a:lnTo>
                  <a:lnTo>
                    <a:pt x="1794687" y="266700"/>
                  </a:lnTo>
                  <a:lnTo>
                    <a:pt x="1276794" y="266700"/>
                  </a:lnTo>
                  <a:lnTo>
                    <a:pt x="1257287" y="254000"/>
                  </a:lnTo>
                  <a:lnTo>
                    <a:pt x="1239469" y="254000"/>
                  </a:lnTo>
                  <a:lnTo>
                    <a:pt x="1222616" y="241300"/>
                  </a:lnTo>
                  <a:lnTo>
                    <a:pt x="1208659" y="215900"/>
                  </a:lnTo>
                  <a:lnTo>
                    <a:pt x="1199553" y="203200"/>
                  </a:lnTo>
                  <a:lnTo>
                    <a:pt x="1194625" y="177800"/>
                  </a:lnTo>
                  <a:lnTo>
                    <a:pt x="1193139" y="165100"/>
                  </a:lnTo>
                  <a:lnTo>
                    <a:pt x="1193139" y="152400"/>
                  </a:lnTo>
                  <a:lnTo>
                    <a:pt x="1189837" y="127000"/>
                  </a:lnTo>
                  <a:lnTo>
                    <a:pt x="1180426" y="88900"/>
                  </a:lnTo>
                  <a:lnTo>
                    <a:pt x="1146136" y="38100"/>
                  </a:lnTo>
                  <a:lnTo>
                    <a:pt x="1096949" y="12700"/>
                  </a:lnTo>
                  <a:lnTo>
                    <a:pt x="1068451" y="0"/>
                  </a:lnTo>
                  <a:lnTo>
                    <a:pt x="1008849" y="0"/>
                  </a:lnTo>
                  <a:lnTo>
                    <a:pt x="961732" y="25400"/>
                  </a:lnTo>
                  <a:lnTo>
                    <a:pt x="922743" y="63500"/>
                  </a:lnTo>
                  <a:lnTo>
                    <a:pt x="907237" y="127000"/>
                  </a:lnTo>
                  <a:lnTo>
                    <a:pt x="905916" y="152400"/>
                  </a:lnTo>
                  <a:lnTo>
                    <a:pt x="905916" y="165100"/>
                  </a:lnTo>
                  <a:lnTo>
                    <a:pt x="902411" y="177800"/>
                  </a:lnTo>
                  <a:lnTo>
                    <a:pt x="893102" y="203200"/>
                  </a:lnTo>
                  <a:lnTo>
                    <a:pt x="879856" y="215900"/>
                  </a:lnTo>
                  <a:lnTo>
                    <a:pt x="864501" y="241300"/>
                  </a:lnTo>
                  <a:lnTo>
                    <a:pt x="846226" y="254000"/>
                  </a:lnTo>
                  <a:lnTo>
                    <a:pt x="824255" y="254000"/>
                  </a:lnTo>
                  <a:lnTo>
                    <a:pt x="800404" y="266700"/>
                  </a:lnTo>
                  <a:lnTo>
                    <a:pt x="287350" y="266700"/>
                  </a:lnTo>
                  <a:lnTo>
                    <a:pt x="259816" y="279400"/>
                  </a:lnTo>
                  <a:lnTo>
                    <a:pt x="234975" y="292100"/>
                  </a:lnTo>
                  <a:lnTo>
                    <a:pt x="212852" y="317500"/>
                  </a:lnTo>
                  <a:lnTo>
                    <a:pt x="194640" y="330200"/>
                  </a:lnTo>
                  <a:lnTo>
                    <a:pt x="181660" y="368300"/>
                  </a:lnTo>
                  <a:lnTo>
                    <a:pt x="173875" y="393700"/>
                  </a:lnTo>
                  <a:lnTo>
                    <a:pt x="171284" y="419100"/>
                  </a:lnTo>
                  <a:lnTo>
                    <a:pt x="173875" y="457200"/>
                  </a:lnTo>
                  <a:lnTo>
                    <a:pt x="181660" y="482600"/>
                  </a:lnTo>
                  <a:lnTo>
                    <a:pt x="194640" y="508000"/>
                  </a:lnTo>
                  <a:lnTo>
                    <a:pt x="212852" y="533400"/>
                  </a:lnTo>
                  <a:lnTo>
                    <a:pt x="234975" y="546100"/>
                  </a:lnTo>
                  <a:lnTo>
                    <a:pt x="259816" y="571500"/>
                  </a:lnTo>
                  <a:lnTo>
                    <a:pt x="287350" y="571500"/>
                  </a:lnTo>
                  <a:lnTo>
                    <a:pt x="317601" y="584200"/>
                  </a:lnTo>
                  <a:lnTo>
                    <a:pt x="861187" y="584200"/>
                  </a:lnTo>
                  <a:lnTo>
                    <a:pt x="895604" y="622300"/>
                  </a:lnTo>
                  <a:lnTo>
                    <a:pt x="905916" y="647700"/>
                  </a:lnTo>
                  <a:lnTo>
                    <a:pt x="905916" y="660400"/>
                  </a:lnTo>
                  <a:lnTo>
                    <a:pt x="903033" y="685800"/>
                  </a:lnTo>
                  <a:lnTo>
                    <a:pt x="895604" y="698500"/>
                  </a:lnTo>
                  <a:lnTo>
                    <a:pt x="885469" y="698500"/>
                  </a:lnTo>
                  <a:lnTo>
                    <a:pt x="874483" y="711200"/>
                  </a:lnTo>
                  <a:lnTo>
                    <a:pt x="861187" y="723900"/>
                  </a:lnTo>
                  <a:lnTo>
                    <a:pt x="844194" y="736600"/>
                  </a:lnTo>
                  <a:lnTo>
                    <a:pt x="480136" y="736600"/>
                  </a:lnTo>
                  <a:lnTo>
                    <a:pt x="452272" y="749300"/>
                  </a:lnTo>
                  <a:lnTo>
                    <a:pt x="426910" y="762000"/>
                  </a:lnTo>
                  <a:lnTo>
                    <a:pt x="404063" y="787400"/>
                  </a:lnTo>
                  <a:lnTo>
                    <a:pt x="385140" y="800100"/>
                  </a:lnTo>
                  <a:lnTo>
                    <a:pt x="371640" y="825500"/>
                  </a:lnTo>
                  <a:lnTo>
                    <a:pt x="363537" y="863600"/>
                  </a:lnTo>
                  <a:lnTo>
                    <a:pt x="360832" y="889000"/>
                  </a:lnTo>
                  <a:lnTo>
                    <a:pt x="363537" y="914400"/>
                  </a:lnTo>
                  <a:lnTo>
                    <a:pt x="371640" y="952500"/>
                  </a:lnTo>
                  <a:lnTo>
                    <a:pt x="385140" y="977900"/>
                  </a:lnTo>
                  <a:lnTo>
                    <a:pt x="404063" y="990600"/>
                  </a:lnTo>
                  <a:lnTo>
                    <a:pt x="426910" y="1016000"/>
                  </a:lnTo>
                  <a:lnTo>
                    <a:pt x="452272" y="1028700"/>
                  </a:lnTo>
                  <a:lnTo>
                    <a:pt x="480136" y="1041400"/>
                  </a:lnTo>
                  <a:lnTo>
                    <a:pt x="863155" y="1041400"/>
                  </a:lnTo>
                  <a:lnTo>
                    <a:pt x="884453" y="1054100"/>
                  </a:lnTo>
                  <a:lnTo>
                    <a:pt x="899934" y="1066800"/>
                  </a:lnTo>
                  <a:lnTo>
                    <a:pt x="905916" y="1092200"/>
                  </a:lnTo>
                  <a:lnTo>
                    <a:pt x="905916" y="1130300"/>
                  </a:lnTo>
                  <a:lnTo>
                    <a:pt x="899934" y="1155700"/>
                  </a:lnTo>
                  <a:lnTo>
                    <a:pt x="884453" y="1168400"/>
                  </a:lnTo>
                  <a:lnTo>
                    <a:pt x="863155" y="1181100"/>
                  </a:lnTo>
                  <a:lnTo>
                    <a:pt x="344208" y="1181100"/>
                  </a:lnTo>
                  <a:lnTo>
                    <a:pt x="313753" y="1193800"/>
                  </a:lnTo>
                  <a:lnTo>
                    <a:pt x="285584" y="1193800"/>
                  </a:lnTo>
                  <a:lnTo>
                    <a:pt x="259715" y="1206500"/>
                  </a:lnTo>
                  <a:lnTo>
                    <a:pt x="236131" y="1231900"/>
                  </a:lnTo>
                  <a:lnTo>
                    <a:pt x="216484" y="1244600"/>
                  </a:lnTo>
                  <a:lnTo>
                    <a:pt x="202450" y="1270000"/>
                  </a:lnTo>
                  <a:lnTo>
                    <a:pt x="194030" y="1308100"/>
                  </a:lnTo>
                  <a:lnTo>
                    <a:pt x="191223" y="1333500"/>
                  </a:lnTo>
                  <a:lnTo>
                    <a:pt x="194030" y="1358900"/>
                  </a:lnTo>
                  <a:lnTo>
                    <a:pt x="202450" y="1397000"/>
                  </a:lnTo>
                  <a:lnTo>
                    <a:pt x="236131" y="1447800"/>
                  </a:lnTo>
                  <a:lnTo>
                    <a:pt x="285584" y="1473200"/>
                  </a:lnTo>
                  <a:lnTo>
                    <a:pt x="313753" y="1485900"/>
                  </a:lnTo>
                  <a:lnTo>
                    <a:pt x="862914" y="1485900"/>
                  </a:lnTo>
                  <a:lnTo>
                    <a:pt x="874191" y="1498600"/>
                  </a:lnTo>
                  <a:lnTo>
                    <a:pt x="882802" y="1498600"/>
                  </a:lnTo>
                  <a:lnTo>
                    <a:pt x="890130" y="1511300"/>
                  </a:lnTo>
                  <a:lnTo>
                    <a:pt x="897674" y="1511300"/>
                  </a:lnTo>
                  <a:lnTo>
                    <a:pt x="903554" y="1524000"/>
                  </a:lnTo>
                  <a:lnTo>
                    <a:pt x="905916" y="1524000"/>
                  </a:lnTo>
                  <a:lnTo>
                    <a:pt x="905916" y="1574800"/>
                  </a:lnTo>
                  <a:lnTo>
                    <a:pt x="903554" y="1587500"/>
                  </a:lnTo>
                  <a:lnTo>
                    <a:pt x="897674" y="1587500"/>
                  </a:lnTo>
                  <a:lnTo>
                    <a:pt x="890130" y="1600200"/>
                  </a:lnTo>
                  <a:lnTo>
                    <a:pt x="882802" y="1612900"/>
                  </a:lnTo>
                  <a:lnTo>
                    <a:pt x="874191" y="1612900"/>
                  </a:lnTo>
                  <a:lnTo>
                    <a:pt x="862914" y="1625600"/>
                  </a:lnTo>
                  <a:lnTo>
                    <a:pt x="480136" y="1625600"/>
                  </a:lnTo>
                  <a:lnTo>
                    <a:pt x="452272" y="1638300"/>
                  </a:lnTo>
                  <a:lnTo>
                    <a:pt x="404063" y="1663700"/>
                  </a:lnTo>
                  <a:lnTo>
                    <a:pt x="371640" y="1714500"/>
                  </a:lnTo>
                  <a:lnTo>
                    <a:pt x="360832" y="1765300"/>
                  </a:lnTo>
                  <a:lnTo>
                    <a:pt x="363537" y="1790700"/>
                  </a:lnTo>
                  <a:lnTo>
                    <a:pt x="385140" y="1841500"/>
                  </a:lnTo>
                  <a:lnTo>
                    <a:pt x="426910" y="1879600"/>
                  </a:lnTo>
                  <a:lnTo>
                    <a:pt x="452272" y="1892300"/>
                  </a:lnTo>
                  <a:lnTo>
                    <a:pt x="480136" y="1892300"/>
                  </a:lnTo>
                  <a:lnTo>
                    <a:pt x="510489" y="1905000"/>
                  </a:lnTo>
                  <a:lnTo>
                    <a:pt x="773595" y="1905000"/>
                  </a:lnTo>
                  <a:lnTo>
                    <a:pt x="803465" y="1917700"/>
                  </a:lnTo>
                  <a:lnTo>
                    <a:pt x="831049" y="1930400"/>
                  </a:lnTo>
                  <a:lnTo>
                    <a:pt x="854532" y="1955800"/>
                  </a:lnTo>
                  <a:lnTo>
                    <a:pt x="874242" y="1968500"/>
                  </a:lnTo>
                  <a:lnTo>
                    <a:pt x="890612" y="2006600"/>
                  </a:lnTo>
                  <a:lnTo>
                    <a:pt x="901788" y="2032000"/>
                  </a:lnTo>
                  <a:lnTo>
                    <a:pt x="905916" y="2057400"/>
                  </a:lnTo>
                  <a:lnTo>
                    <a:pt x="905916" y="2349500"/>
                  </a:lnTo>
                  <a:lnTo>
                    <a:pt x="900430" y="2387600"/>
                  </a:lnTo>
                  <a:lnTo>
                    <a:pt x="885202" y="2425700"/>
                  </a:lnTo>
                  <a:lnTo>
                    <a:pt x="862076" y="2451100"/>
                  </a:lnTo>
                  <a:lnTo>
                    <a:pt x="832916" y="2463800"/>
                  </a:lnTo>
                  <a:lnTo>
                    <a:pt x="797433" y="2489200"/>
                  </a:lnTo>
                  <a:lnTo>
                    <a:pt x="725881" y="2489200"/>
                  </a:lnTo>
                  <a:lnTo>
                    <a:pt x="691654" y="2476500"/>
                  </a:lnTo>
                  <a:lnTo>
                    <a:pt x="673684" y="2476500"/>
                  </a:lnTo>
                  <a:lnTo>
                    <a:pt x="654888" y="2463800"/>
                  </a:lnTo>
                  <a:lnTo>
                    <a:pt x="648131" y="2463800"/>
                  </a:lnTo>
                  <a:lnTo>
                    <a:pt x="641413" y="2451100"/>
                  </a:lnTo>
                  <a:lnTo>
                    <a:pt x="625944" y="2451100"/>
                  </a:lnTo>
                  <a:lnTo>
                    <a:pt x="620864" y="2438400"/>
                  </a:lnTo>
                  <a:lnTo>
                    <a:pt x="610730" y="2438400"/>
                  </a:lnTo>
                  <a:lnTo>
                    <a:pt x="605624" y="2425700"/>
                  </a:lnTo>
                  <a:lnTo>
                    <a:pt x="600583" y="2425700"/>
                  </a:lnTo>
                  <a:lnTo>
                    <a:pt x="583819" y="2400300"/>
                  </a:lnTo>
                  <a:lnTo>
                    <a:pt x="570141" y="2387600"/>
                  </a:lnTo>
                  <a:lnTo>
                    <a:pt x="559600" y="2362200"/>
                  </a:lnTo>
                  <a:lnTo>
                    <a:pt x="552208" y="2349500"/>
                  </a:lnTo>
                  <a:lnTo>
                    <a:pt x="548132" y="2324100"/>
                  </a:lnTo>
                  <a:lnTo>
                    <a:pt x="547585" y="2298700"/>
                  </a:lnTo>
                  <a:lnTo>
                    <a:pt x="550583" y="2273300"/>
                  </a:lnTo>
                  <a:lnTo>
                    <a:pt x="557136" y="2247900"/>
                  </a:lnTo>
                  <a:lnTo>
                    <a:pt x="577037" y="2197100"/>
                  </a:lnTo>
                  <a:lnTo>
                    <a:pt x="583996" y="2171700"/>
                  </a:lnTo>
                  <a:lnTo>
                    <a:pt x="584923" y="2133600"/>
                  </a:lnTo>
                  <a:lnTo>
                    <a:pt x="568718" y="2082800"/>
                  </a:lnTo>
                  <a:lnTo>
                    <a:pt x="533361" y="2032000"/>
                  </a:lnTo>
                  <a:lnTo>
                    <a:pt x="483895" y="2006600"/>
                  </a:lnTo>
                  <a:lnTo>
                    <a:pt x="454164" y="2006600"/>
                  </a:lnTo>
                  <a:lnTo>
                    <a:pt x="424853" y="1993900"/>
                  </a:lnTo>
                  <a:lnTo>
                    <a:pt x="367487" y="2019300"/>
                  </a:lnTo>
                  <a:lnTo>
                    <a:pt x="341693" y="2032000"/>
                  </a:lnTo>
                  <a:lnTo>
                    <a:pt x="320903" y="2057400"/>
                  </a:lnTo>
                  <a:lnTo>
                    <a:pt x="305117" y="2070100"/>
                  </a:lnTo>
                  <a:lnTo>
                    <a:pt x="294322" y="2108200"/>
                  </a:lnTo>
                  <a:lnTo>
                    <a:pt x="277164" y="2159000"/>
                  </a:lnTo>
                  <a:lnTo>
                    <a:pt x="257606" y="2209800"/>
                  </a:lnTo>
                  <a:lnTo>
                    <a:pt x="235661" y="2247900"/>
                  </a:lnTo>
                  <a:lnTo>
                    <a:pt x="211315" y="2298700"/>
                  </a:lnTo>
                  <a:lnTo>
                    <a:pt x="184581" y="2349500"/>
                  </a:lnTo>
                  <a:lnTo>
                    <a:pt x="158369" y="2387600"/>
                  </a:lnTo>
                  <a:lnTo>
                    <a:pt x="130289" y="2438400"/>
                  </a:lnTo>
                  <a:lnTo>
                    <a:pt x="100368" y="2476500"/>
                  </a:lnTo>
                  <a:lnTo>
                    <a:pt x="68567" y="2527300"/>
                  </a:lnTo>
                  <a:lnTo>
                    <a:pt x="34925" y="2565400"/>
                  </a:lnTo>
                  <a:lnTo>
                    <a:pt x="17767" y="2590800"/>
                  </a:lnTo>
                  <a:lnTo>
                    <a:pt x="6235" y="2616200"/>
                  </a:lnTo>
                  <a:lnTo>
                    <a:pt x="317" y="2654300"/>
                  </a:lnTo>
                  <a:lnTo>
                    <a:pt x="0" y="2679700"/>
                  </a:lnTo>
                  <a:lnTo>
                    <a:pt x="5092" y="2705100"/>
                  </a:lnTo>
                  <a:lnTo>
                    <a:pt x="30861" y="2755900"/>
                  </a:lnTo>
                  <a:lnTo>
                    <a:pt x="75869" y="2794000"/>
                  </a:lnTo>
                  <a:lnTo>
                    <a:pt x="102260" y="2806700"/>
                  </a:lnTo>
                  <a:lnTo>
                    <a:pt x="191211" y="2806700"/>
                  </a:lnTo>
                  <a:lnTo>
                    <a:pt x="217805" y="2794000"/>
                  </a:lnTo>
                  <a:lnTo>
                    <a:pt x="241096" y="2781300"/>
                  </a:lnTo>
                  <a:lnTo>
                    <a:pt x="261086" y="2755900"/>
                  </a:lnTo>
                  <a:lnTo>
                    <a:pt x="300977" y="2717800"/>
                  </a:lnTo>
                  <a:lnTo>
                    <a:pt x="315417" y="2692400"/>
                  </a:lnTo>
                  <a:lnTo>
                    <a:pt x="332143" y="2679700"/>
                  </a:lnTo>
                  <a:lnTo>
                    <a:pt x="351167" y="2679700"/>
                  </a:lnTo>
                  <a:lnTo>
                    <a:pt x="372465" y="2667000"/>
                  </a:lnTo>
                  <a:lnTo>
                    <a:pt x="415277" y="2667000"/>
                  </a:lnTo>
                  <a:lnTo>
                    <a:pt x="435140" y="2679700"/>
                  </a:lnTo>
                  <a:lnTo>
                    <a:pt x="453961" y="2692400"/>
                  </a:lnTo>
                  <a:lnTo>
                    <a:pt x="477240" y="2705100"/>
                  </a:lnTo>
                  <a:lnTo>
                    <a:pt x="518896" y="2730500"/>
                  </a:lnTo>
                  <a:lnTo>
                    <a:pt x="562190" y="2755900"/>
                  </a:lnTo>
                  <a:lnTo>
                    <a:pt x="653681" y="2781300"/>
                  </a:lnTo>
                  <a:lnTo>
                    <a:pt x="751700" y="2806700"/>
                  </a:lnTo>
                  <a:lnTo>
                    <a:pt x="1810829" y="2806700"/>
                  </a:lnTo>
                  <a:lnTo>
                    <a:pt x="1839709" y="2794000"/>
                  </a:lnTo>
                  <a:lnTo>
                    <a:pt x="1866519" y="2794000"/>
                  </a:lnTo>
                  <a:lnTo>
                    <a:pt x="1891245" y="2781300"/>
                  </a:lnTo>
                  <a:lnTo>
                    <a:pt x="1913915" y="2755900"/>
                  </a:lnTo>
                  <a:lnTo>
                    <a:pt x="1932813" y="2743200"/>
                  </a:lnTo>
                  <a:lnTo>
                    <a:pt x="1946325" y="2717800"/>
                  </a:lnTo>
                  <a:lnTo>
                    <a:pt x="1954428" y="2679700"/>
                  </a:lnTo>
                  <a:lnTo>
                    <a:pt x="1955787" y="2667000"/>
                  </a:lnTo>
                  <a:lnTo>
                    <a:pt x="1957133" y="2654300"/>
                  </a:lnTo>
                  <a:lnTo>
                    <a:pt x="1954428" y="2628900"/>
                  </a:lnTo>
                  <a:lnTo>
                    <a:pt x="1932813" y="2578100"/>
                  </a:lnTo>
                  <a:lnTo>
                    <a:pt x="1891245" y="2527300"/>
                  </a:lnTo>
                  <a:lnTo>
                    <a:pt x="1866519" y="2514600"/>
                  </a:lnTo>
                  <a:lnTo>
                    <a:pt x="1839709" y="2514600"/>
                  </a:lnTo>
                  <a:lnTo>
                    <a:pt x="1810829" y="2501900"/>
                  </a:lnTo>
                  <a:lnTo>
                    <a:pt x="1275181" y="2501900"/>
                  </a:lnTo>
                  <a:lnTo>
                    <a:pt x="1252270" y="2489200"/>
                  </a:lnTo>
                  <a:lnTo>
                    <a:pt x="1213319" y="2438400"/>
                  </a:lnTo>
                  <a:lnTo>
                    <a:pt x="1195146" y="2387600"/>
                  </a:lnTo>
                  <a:lnTo>
                    <a:pt x="1193139" y="2362200"/>
                  </a:lnTo>
                  <a:lnTo>
                    <a:pt x="1193139" y="2057400"/>
                  </a:lnTo>
                  <a:lnTo>
                    <a:pt x="1195146" y="2032000"/>
                  </a:lnTo>
                  <a:lnTo>
                    <a:pt x="1201635" y="2006600"/>
                  </a:lnTo>
                  <a:lnTo>
                    <a:pt x="1213319" y="1968500"/>
                  </a:lnTo>
                  <a:lnTo>
                    <a:pt x="1230934" y="1955800"/>
                  </a:lnTo>
                  <a:lnTo>
                    <a:pt x="1252270" y="1930400"/>
                  </a:lnTo>
                  <a:lnTo>
                    <a:pt x="1275181" y="1917700"/>
                  </a:lnTo>
                  <a:lnTo>
                    <a:pt x="1300391" y="1905000"/>
                  </a:lnTo>
                  <a:lnTo>
                    <a:pt x="1451648" y="1905000"/>
                  </a:lnTo>
                  <a:lnTo>
                    <a:pt x="1500174" y="1892300"/>
                  </a:lnTo>
                  <a:lnTo>
                    <a:pt x="1544942" y="1892300"/>
                  </a:lnTo>
                  <a:lnTo>
                    <a:pt x="1586318" y="1879600"/>
                  </a:lnTo>
                  <a:lnTo>
                    <a:pt x="1624698" y="1854200"/>
                  </a:lnTo>
                  <a:lnTo>
                    <a:pt x="1660486" y="1816100"/>
                  </a:lnTo>
                  <a:lnTo>
                    <a:pt x="1691195" y="1790700"/>
                  </a:lnTo>
                  <a:lnTo>
                    <a:pt x="1714411" y="1752600"/>
                  </a:lnTo>
                  <a:lnTo>
                    <a:pt x="1730527" y="1714500"/>
                  </a:lnTo>
                  <a:lnTo>
                    <a:pt x="1739912" y="1663700"/>
                  </a:lnTo>
                  <a:lnTo>
                    <a:pt x="1742960" y="1612900"/>
                  </a:lnTo>
                  <a:lnTo>
                    <a:pt x="1742960" y="1600200"/>
                  </a:lnTo>
                  <a:lnTo>
                    <a:pt x="1745869" y="1574800"/>
                  </a:lnTo>
                  <a:lnTo>
                    <a:pt x="1754098" y="1562100"/>
                  </a:lnTo>
                  <a:lnTo>
                    <a:pt x="1766900" y="1536700"/>
                  </a:lnTo>
                  <a:lnTo>
                    <a:pt x="1783549" y="1524000"/>
                  </a:lnTo>
                  <a:lnTo>
                    <a:pt x="1803488" y="1511300"/>
                  </a:lnTo>
                  <a:lnTo>
                    <a:pt x="1826272" y="1498600"/>
                  </a:lnTo>
                  <a:lnTo>
                    <a:pt x="1851126" y="1485900"/>
                  </a:lnTo>
                  <a:lnTo>
                    <a:pt x="1911083" y="1485900"/>
                  </a:lnTo>
                  <a:lnTo>
                    <a:pt x="1939251" y="1473200"/>
                  </a:lnTo>
                  <a:lnTo>
                    <a:pt x="1965147" y="1460500"/>
                  </a:lnTo>
                  <a:lnTo>
                    <a:pt x="1988743" y="1435100"/>
                  </a:lnTo>
                  <a:lnTo>
                    <a:pt x="2008390" y="1422400"/>
                  </a:lnTo>
                  <a:lnTo>
                    <a:pt x="2022411" y="1397000"/>
                  </a:lnTo>
                  <a:lnTo>
                    <a:pt x="2030831" y="1358900"/>
                  </a:lnTo>
                  <a:lnTo>
                    <a:pt x="2033638" y="13335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object 9"/>
            <p:cNvSpPr>
              <a:spLocks noChangeArrowheads="1"/>
            </p:cNvSpPr>
            <p:nvPr userDrawn="1"/>
          </p:nvSpPr>
          <p:spPr bwMode="auto">
            <a:xfrm>
              <a:off x="8697913" y="7029450"/>
              <a:ext cx="1306512" cy="912813"/>
            </a:xfrm>
            <a:custGeom>
              <a:avLst/>
              <a:gdLst>
                <a:gd name="T0" fmla="*/ 353193 w 1306195"/>
                <a:gd name="T1" fmla="*/ 0 h 913765"/>
                <a:gd name="T2" fmla="*/ 249188 w 1306195"/>
                <a:gd name="T3" fmla="*/ 15359 h 913765"/>
                <a:gd name="T4" fmla="*/ 128468 w 1306195"/>
                <a:gd name="T5" fmla="*/ 80137 h 913765"/>
                <a:gd name="T6" fmla="*/ 42341 w 1306195"/>
                <a:gd name="T7" fmla="*/ 184724 h 913765"/>
                <a:gd name="T8" fmla="*/ 1708 w 1306195"/>
                <a:gd name="T9" fmla="*/ 317007 h 913765"/>
                <a:gd name="T10" fmla="*/ 2168 w 1306195"/>
                <a:gd name="T11" fmla="*/ 820758 h 913765"/>
                <a:gd name="T12" fmla="*/ 52892 w 1306195"/>
                <a:gd name="T13" fmla="*/ 894767 h 913765"/>
                <a:gd name="T14" fmla="*/ 116677 w 1306195"/>
                <a:gd name="T15" fmla="*/ 913616 h 913765"/>
                <a:gd name="T16" fmla="*/ 182767 w 1306195"/>
                <a:gd name="T17" fmla="*/ 894767 h 913765"/>
                <a:gd name="T18" fmla="*/ 233673 w 1306195"/>
                <a:gd name="T19" fmla="*/ 820758 h 913765"/>
                <a:gd name="T20" fmla="*/ 238871 w 1306195"/>
                <a:gd name="T21" fmla="*/ 367350 h 913765"/>
                <a:gd name="T22" fmla="*/ 309626 w 1306195"/>
                <a:gd name="T23" fmla="*/ 263079 h 913765"/>
                <a:gd name="T24" fmla="*/ 399705 w 1306195"/>
                <a:gd name="T25" fmla="*/ 235846 h 913765"/>
                <a:gd name="T26" fmla="*/ 1278495 w 1306195"/>
                <a:gd name="T27" fmla="*/ 215982 h 913765"/>
                <a:gd name="T28" fmla="*/ 1203890 w 1306195"/>
                <a:gd name="T29" fmla="*/ 103023 h 913765"/>
                <a:gd name="T30" fmla="*/ 1091935 w 1306195"/>
                <a:gd name="T31" fmla="*/ 27297 h 913765"/>
                <a:gd name="T32" fmla="*/ 990751 w 1306195"/>
                <a:gd name="T33" fmla="*/ 1707 h 913765"/>
                <a:gd name="T34" fmla="*/ 652943 w 1306195"/>
                <a:gd name="T35" fmla="*/ 297917 h 913765"/>
                <a:gd name="T36" fmla="*/ 568516 w 1306195"/>
                <a:gd name="T37" fmla="*/ 332670 h 913765"/>
                <a:gd name="T38" fmla="*/ 533774 w 1306195"/>
                <a:gd name="T39" fmla="*/ 417086 h 913765"/>
                <a:gd name="T40" fmla="*/ 542452 w 1306195"/>
                <a:gd name="T41" fmla="*/ 842558 h 913765"/>
                <a:gd name="T42" fmla="*/ 606988 w 1306195"/>
                <a:gd name="T43" fmla="*/ 905240 h 913765"/>
                <a:gd name="T44" fmla="*/ 676749 w 1306195"/>
                <a:gd name="T45" fmla="*/ 911522 h 913765"/>
                <a:gd name="T46" fmla="*/ 750773 w 1306195"/>
                <a:gd name="T47" fmla="*/ 862335 h 913765"/>
                <a:gd name="T48" fmla="*/ 769631 w 1306195"/>
                <a:gd name="T49" fmla="*/ 796928 h 913765"/>
                <a:gd name="T50" fmla="*/ 761247 w 1306195"/>
                <a:gd name="T51" fmla="*/ 371168 h 913765"/>
                <a:gd name="T52" fmla="*/ 698549 w 1306195"/>
                <a:gd name="T53" fmla="*/ 306608 h 913765"/>
                <a:gd name="T54" fmla="*/ 1285757 w 1306195"/>
                <a:gd name="T55" fmla="*/ 235846 h 913765"/>
                <a:gd name="T56" fmla="*/ 938524 w 1306195"/>
                <a:gd name="T57" fmla="*/ 238871 h 913765"/>
                <a:gd name="T58" fmla="*/ 1021612 w 1306195"/>
                <a:gd name="T59" fmla="*/ 284263 h 913765"/>
                <a:gd name="T60" fmla="*/ 1070019 w 1306195"/>
                <a:gd name="T61" fmla="*/ 399705 h 913765"/>
                <a:gd name="T62" fmla="*/ 1072137 w 1306195"/>
                <a:gd name="T63" fmla="*/ 820758 h 913765"/>
                <a:gd name="T64" fmla="*/ 1121842 w 1306195"/>
                <a:gd name="T65" fmla="*/ 894767 h 913765"/>
                <a:gd name="T66" fmla="*/ 1187963 w 1306195"/>
                <a:gd name="T67" fmla="*/ 913616 h 913765"/>
                <a:gd name="T68" fmla="*/ 1254061 w 1306195"/>
                <a:gd name="T69" fmla="*/ 894767 h 913765"/>
                <a:gd name="T70" fmla="*/ 1303768 w 1306195"/>
                <a:gd name="T71" fmla="*/ 820758 h 913765"/>
                <a:gd name="T72" fmla="*/ 1305812 w 1306195"/>
                <a:gd name="T73" fmla="*/ 350992 h 913765"/>
                <a:gd name="T74" fmla="*/ 1299031 w 1306195"/>
                <a:gd name="T75" fmla="*/ 282408 h 913765"/>
                <a:gd name="T76" fmla="*/ 1285757 w 1306195"/>
                <a:gd name="T77" fmla="*/ 235846 h 91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6195" h="913765">
                  <a:moveTo>
                    <a:pt x="955175" y="0"/>
                  </a:moveTo>
                  <a:lnTo>
                    <a:pt x="353193" y="0"/>
                  </a:lnTo>
                  <a:lnTo>
                    <a:pt x="317588" y="1707"/>
                  </a:lnTo>
                  <a:lnTo>
                    <a:pt x="249188" y="15359"/>
                  </a:lnTo>
                  <a:lnTo>
                    <a:pt x="185044" y="42285"/>
                  </a:lnTo>
                  <a:lnTo>
                    <a:pt x="128468" y="80137"/>
                  </a:lnTo>
                  <a:lnTo>
                    <a:pt x="80280" y="128238"/>
                  </a:lnTo>
                  <a:lnTo>
                    <a:pt x="42341" y="184724"/>
                  </a:lnTo>
                  <a:lnTo>
                    <a:pt x="15376" y="248735"/>
                  </a:lnTo>
                  <a:lnTo>
                    <a:pt x="1708" y="317007"/>
                  </a:lnTo>
                  <a:lnTo>
                    <a:pt x="0" y="796928"/>
                  </a:lnTo>
                  <a:lnTo>
                    <a:pt x="2168" y="820758"/>
                  </a:lnTo>
                  <a:lnTo>
                    <a:pt x="19533" y="862335"/>
                  </a:lnTo>
                  <a:lnTo>
                    <a:pt x="52892" y="894767"/>
                  </a:lnTo>
                  <a:lnTo>
                    <a:pt x="93861" y="911522"/>
                  </a:lnTo>
                  <a:lnTo>
                    <a:pt x="116677" y="913616"/>
                  </a:lnTo>
                  <a:lnTo>
                    <a:pt x="140563" y="911522"/>
                  </a:lnTo>
                  <a:lnTo>
                    <a:pt x="182767" y="894767"/>
                  </a:lnTo>
                  <a:lnTo>
                    <a:pt x="216294" y="862335"/>
                  </a:lnTo>
                  <a:lnTo>
                    <a:pt x="233673" y="820758"/>
                  </a:lnTo>
                  <a:lnTo>
                    <a:pt x="235846" y="399705"/>
                  </a:lnTo>
                  <a:lnTo>
                    <a:pt x="238871" y="367350"/>
                  </a:lnTo>
                  <a:lnTo>
                    <a:pt x="263075" y="309626"/>
                  </a:lnTo>
                  <a:lnTo>
                    <a:pt x="309626" y="263079"/>
                  </a:lnTo>
                  <a:lnTo>
                    <a:pt x="367351" y="238871"/>
                  </a:lnTo>
                  <a:lnTo>
                    <a:pt x="399705" y="235846"/>
                  </a:lnTo>
                  <a:lnTo>
                    <a:pt x="1285757" y="235846"/>
                  </a:lnTo>
                  <a:lnTo>
                    <a:pt x="1278495" y="215982"/>
                  </a:lnTo>
                  <a:lnTo>
                    <a:pt x="1246171" y="155474"/>
                  </a:lnTo>
                  <a:lnTo>
                    <a:pt x="1203890" y="103023"/>
                  </a:lnTo>
                  <a:lnTo>
                    <a:pt x="1152282" y="59894"/>
                  </a:lnTo>
                  <a:lnTo>
                    <a:pt x="1091935" y="27297"/>
                  </a:lnTo>
                  <a:lnTo>
                    <a:pt x="1025404" y="6828"/>
                  </a:lnTo>
                  <a:lnTo>
                    <a:pt x="990751" y="1707"/>
                  </a:lnTo>
                  <a:lnTo>
                    <a:pt x="955175" y="0"/>
                  </a:lnTo>
                  <a:close/>
                </a:path>
                <a:path w="1306195" h="913765">
                  <a:moveTo>
                    <a:pt x="652943" y="297917"/>
                  </a:moveTo>
                  <a:lnTo>
                    <a:pt x="606988" y="306608"/>
                  </a:lnTo>
                  <a:lnTo>
                    <a:pt x="568516" y="332670"/>
                  </a:lnTo>
                  <a:lnTo>
                    <a:pt x="542452" y="371168"/>
                  </a:lnTo>
                  <a:lnTo>
                    <a:pt x="533774" y="417086"/>
                  </a:lnTo>
                  <a:lnTo>
                    <a:pt x="533774" y="796928"/>
                  </a:lnTo>
                  <a:lnTo>
                    <a:pt x="542452" y="842558"/>
                  </a:lnTo>
                  <a:lnTo>
                    <a:pt x="568516" y="880098"/>
                  </a:lnTo>
                  <a:lnTo>
                    <a:pt x="606988" y="905240"/>
                  </a:lnTo>
                  <a:lnTo>
                    <a:pt x="652943" y="913616"/>
                  </a:lnTo>
                  <a:lnTo>
                    <a:pt x="676749" y="911522"/>
                  </a:lnTo>
                  <a:lnTo>
                    <a:pt x="718338" y="894767"/>
                  </a:lnTo>
                  <a:lnTo>
                    <a:pt x="750773" y="862335"/>
                  </a:lnTo>
                  <a:lnTo>
                    <a:pt x="767534" y="820758"/>
                  </a:lnTo>
                  <a:lnTo>
                    <a:pt x="769631" y="796928"/>
                  </a:lnTo>
                  <a:lnTo>
                    <a:pt x="769631" y="417086"/>
                  </a:lnTo>
                  <a:lnTo>
                    <a:pt x="761247" y="371168"/>
                  </a:lnTo>
                  <a:lnTo>
                    <a:pt x="736113" y="332670"/>
                  </a:lnTo>
                  <a:lnTo>
                    <a:pt x="698549" y="306608"/>
                  </a:lnTo>
                  <a:lnTo>
                    <a:pt x="652943" y="297917"/>
                  </a:lnTo>
                  <a:close/>
                </a:path>
                <a:path w="1306195" h="913765">
                  <a:moveTo>
                    <a:pt x="1285757" y="235846"/>
                  </a:moveTo>
                  <a:lnTo>
                    <a:pt x="906171" y="235846"/>
                  </a:lnTo>
                  <a:lnTo>
                    <a:pt x="938524" y="238871"/>
                  </a:lnTo>
                  <a:lnTo>
                    <a:pt x="968549" y="247949"/>
                  </a:lnTo>
                  <a:lnTo>
                    <a:pt x="1021612" y="284263"/>
                  </a:lnTo>
                  <a:lnTo>
                    <a:pt x="1057921" y="337323"/>
                  </a:lnTo>
                  <a:lnTo>
                    <a:pt x="1070019" y="399705"/>
                  </a:lnTo>
                  <a:lnTo>
                    <a:pt x="1070019" y="796928"/>
                  </a:lnTo>
                  <a:lnTo>
                    <a:pt x="1072137" y="820758"/>
                  </a:lnTo>
                  <a:lnTo>
                    <a:pt x="1089076" y="862335"/>
                  </a:lnTo>
                  <a:lnTo>
                    <a:pt x="1121842" y="894767"/>
                  </a:lnTo>
                  <a:lnTo>
                    <a:pt x="1163871" y="911522"/>
                  </a:lnTo>
                  <a:lnTo>
                    <a:pt x="1187963" y="913616"/>
                  </a:lnTo>
                  <a:lnTo>
                    <a:pt x="1212023" y="911522"/>
                  </a:lnTo>
                  <a:lnTo>
                    <a:pt x="1254061" y="894767"/>
                  </a:lnTo>
                  <a:lnTo>
                    <a:pt x="1286830" y="862335"/>
                  </a:lnTo>
                  <a:lnTo>
                    <a:pt x="1303768" y="820758"/>
                  </a:lnTo>
                  <a:lnTo>
                    <a:pt x="1305886" y="796928"/>
                  </a:lnTo>
                  <a:lnTo>
                    <a:pt x="1305812" y="350992"/>
                  </a:lnTo>
                  <a:lnTo>
                    <a:pt x="1304172" y="317007"/>
                  </a:lnTo>
                  <a:lnTo>
                    <a:pt x="1299031" y="282408"/>
                  </a:lnTo>
                  <a:lnTo>
                    <a:pt x="1290470" y="248735"/>
                  </a:lnTo>
                  <a:lnTo>
                    <a:pt x="1285757" y="2358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8" name="object 10"/>
            <p:cNvSpPr>
              <a:spLocks noChangeArrowheads="1"/>
            </p:cNvSpPr>
            <p:nvPr userDrawn="1"/>
          </p:nvSpPr>
          <p:spPr bwMode="auto">
            <a:xfrm>
              <a:off x="10213975" y="7029450"/>
              <a:ext cx="1068388" cy="912813"/>
            </a:xfrm>
            <a:custGeom>
              <a:avLst/>
              <a:gdLst>
                <a:gd name="T0" fmla="*/ 355842 w 1068070"/>
                <a:gd name="T1" fmla="*/ 0 h 913765"/>
                <a:gd name="T2" fmla="*/ 249469 w 1068070"/>
                <a:gd name="T3" fmla="*/ 15359 h 913765"/>
                <a:gd name="T4" fmla="*/ 128549 w 1068070"/>
                <a:gd name="T5" fmla="*/ 80137 h 913765"/>
                <a:gd name="T6" fmla="*/ 42358 w 1068070"/>
                <a:gd name="T7" fmla="*/ 184724 h 913765"/>
                <a:gd name="T8" fmla="*/ 1710 w 1068070"/>
                <a:gd name="T9" fmla="*/ 317011 h 913765"/>
                <a:gd name="T10" fmla="*/ 0 w 1068070"/>
                <a:gd name="T11" fmla="*/ 561082 h 913765"/>
                <a:gd name="T12" fmla="*/ 27360 w 1068070"/>
                <a:gd name="T13" fmla="*/ 698868 h 913765"/>
                <a:gd name="T14" fmla="*/ 103274 w 1068070"/>
                <a:gd name="T15" fmla="*/ 810593 h 913765"/>
                <a:gd name="T16" fmla="*/ 216496 w 1068070"/>
                <a:gd name="T17" fmla="*/ 886308 h 913765"/>
                <a:gd name="T18" fmla="*/ 355842 w 1068070"/>
                <a:gd name="T19" fmla="*/ 913616 h 913765"/>
                <a:gd name="T20" fmla="*/ 784500 w 1068070"/>
                <a:gd name="T21" fmla="*/ 906802 h 913765"/>
                <a:gd name="T22" fmla="*/ 911728 w 1068070"/>
                <a:gd name="T23" fmla="*/ 853727 h 913765"/>
                <a:gd name="T24" fmla="*/ 1007534 w 1068070"/>
                <a:gd name="T25" fmla="*/ 758449 h 913765"/>
                <a:gd name="T26" fmla="*/ 1047980 w 1068070"/>
                <a:gd name="T27" fmla="*/ 677769 h 913765"/>
                <a:gd name="T28" fmla="*/ 368753 w 1068070"/>
                <a:gd name="T29" fmla="*/ 674822 h 913765"/>
                <a:gd name="T30" fmla="*/ 263091 w 1068070"/>
                <a:gd name="T31" fmla="*/ 605628 h 913765"/>
                <a:gd name="T32" fmla="*/ 235867 w 1068070"/>
                <a:gd name="T33" fmla="*/ 513911 h 913765"/>
                <a:gd name="T34" fmla="*/ 247964 w 1068070"/>
                <a:gd name="T35" fmla="*/ 337327 h 913765"/>
                <a:gd name="T36" fmla="*/ 337954 w 1068070"/>
                <a:gd name="T37" fmla="*/ 247953 h 913765"/>
                <a:gd name="T38" fmla="*/ 1047433 w 1068070"/>
                <a:gd name="T39" fmla="*/ 235846 h 913765"/>
                <a:gd name="T40" fmla="*/ 1007534 w 1068070"/>
                <a:gd name="T41" fmla="*/ 155474 h 913765"/>
                <a:gd name="T42" fmla="*/ 911728 w 1068070"/>
                <a:gd name="T43" fmla="*/ 59894 h 913765"/>
                <a:gd name="T44" fmla="*/ 784500 w 1068070"/>
                <a:gd name="T45" fmla="*/ 6828 h 913765"/>
                <a:gd name="T46" fmla="*/ 714208 w 1068070"/>
                <a:gd name="T47" fmla="*/ 0 h 913765"/>
                <a:gd name="T48" fmla="*/ 665361 w 1068070"/>
                <a:gd name="T49" fmla="*/ 235846 h 913765"/>
                <a:gd name="T50" fmla="*/ 728048 w 1068070"/>
                <a:gd name="T51" fmla="*/ 247953 h 913765"/>
                <a:gd name="T52" fmla="*/ 819293 w 1068070"/>
                <a:gd name="T53" fmla="*/ 337327 h 913765"/>
                <a:gd name="T54" fmla="*/ 831712 w 1068070"/>
                <a:gd name="T55" fmla="*/ 513911 h 913765"/>
                <a:gd name="T56" fmla="*/ 782049 w 1068070"/>
                <a:gd name="T57" fmla="*/ 630598 h 913765"/>
                <a:gd name="T58" fmla="*/ 665361 w 1068070"/>
                <a:gd name="T59" fmla="*/ 677769 h 913765"/>
                <a:gd name="T60" fmla="*/ 1052142 w 1068070"/>
                <a:gd name="T61" fmla="*/ 666515 h 913765"/>
                <a:gd name="T62" fmla="*/ 1065842 w 1068070"/>
                <a:gd name="T63" fmla="*/ 597623 h 913765"/>
                <a:gd name="T64" fmla="*/ 1067559 w 1068070"/>
                <a:gd name="T65" fmla="*/ 352533 h 913765"/>
                <a:gd name="T66" fmla="*/ 1060700 w 1068070"/>
                <a:gd name="T67" fmla="*/ 282412 h 913765"/>
                <a:gd name="T68" fmla="*/ 1047433 w 1068070"/>
                <a:gd name="T69" fmla="*/ 235846 h 91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8070" h="913765">
                  <a:moveTo>
                    <a:pt x="714208" y="0"/>
                  </a:moveTo>
                  <a:lnTo>
                    <a:pt x="355842" y="0"/>
                  </a:lnTo>
                  <a:lnTo>
                    <a:pt x="319140" y="1707"/>
                  </a:lnTo>
                  <a:lnTo>
                    <a:pt x="249469" y="15359"/>
                  </a:lnTo>
                  <a:lnTo>
                    <a:pt x="185159" y="42285"/>
                  </a:lnTo>
                  <a:lnTo>
                    <a:pt x="128549" y="80137"/>
                  </a:lnTo>
                  <a:lnTo>
                    <a:pt x="80325" y="128238"/>
                  </a:lnTo>
                  <a:lnTo>
                    <a:pt x="42358" y="184724"/>
                  </a:lnTo>
                  <a:lnTo>
                    <a:pt x="15390" y="248736"/>
                  </a:lnTo>
                  <a:lnTo>
                    <a:pt x="1710" y="317011"/>
                  </a:lnTo>
                  <a:lnTo>
                    <a:pt x="0" y="352533"/>
                  </a:lnTo>
                  <a:lnTo>
                    <a:pt x="0" y="561082"/>
                  </a:lnTo>
                  <a:lnTo>
                    <a:pt x="6840" y="632767"/>
                  </a:lnTo>
                  <a:lnTo>
                    <a:pt x="27360" y="698868"/>
                  </a:lnTo>
                  <a:lnTo>
                    <a:pt x="60016" y="758449"/>
                  </a:lnTo>
                  <a:lnTo>
                    <a:pt x="103274" y="810593"/>
                  </a:lnTo>
                  <a:lnTo>
                    <a:pt x="155844" y="853727"/>
                  </a:lnTo>
                  <a:lnTo>
                    <a:pt x="216496" y="886308"/>
                  </a:lnTo>
                  <a:lnTo>
                    <a:pt x="283683" y="906802"/>
                  </a:lnTo>
                  <a:lnTo>
                    <a:pt x="355842" y="913616"/>
                  </a:lnTo>
                  <a:lnTo>
                    <a:pt x="714208" y="913616"/>
                  </a:lnTo>
                  <a:lnTo>
                    <a:pt x="784500" y="906802"/>
                  </a:lnTo>
                  <a:lnTo>
                    <a:pt x="851063" y="886308"/>
                  </a:lnTo>
                  <a:lnTo>
                    <a:pt x="911728" y="853727"/>
                  </a:lnTo>
                  <a:lnTo>
                    <a:pt x="964305" y="810593"/>
                  </a:lnTo>
                  <a:lnTo>
                    <a:pt x="1007534" y="758449"/>
                  </a:lnTo>
                  <a:lnTo>
                    <a:pt x="1040177" y="698868"/>
                  </a:lnTo>
                  <a:lnTo>
                    <a:pt x="1047980" y="677769"/>
                  </a:lnTo>
                  <a:lnTo>
                    <a:pt x="402197" y="677769"/>
                  </a:lnTo>
                  <a:lnTo>
                    <a:pt x="368753" y="674822"/>
                  </a:lnTo>
                  <a:lnTo>
                    <a:pt x="309795" y="651239"/>
                  </a:lnTo>
                  <a:lnTo>
                    <a:pt x="263091" y="605628"/>
                  </a:lnTo>
                  <a:lnTo>
                    <a:pt x="238891" y="547280"/>
                  </a:lnTo>
                  <a:lnTo>
                    <a:pt x="235867" y="513911"/>
                  </a:lnTo>
                  <a:lnTo>
                    <a:pt x="235867" y="399705"/>
                  </a:lnTo>
                  <a:lnTo>
                    <a:pt x="247964" y="337327"/>
                  </a:lnTo>
                  <a:lnTo>
                    <a:pt x="284274" y="284263"/>
                  </a:lnTo>
                  <a:lnTo>
                    <a:pt x="337954" y="247953"/>
                  </a:lnTo>
                  <a:lnTo>
                    <a:pt x="402197" y="235846"/>
                  </a:lnTo>
                  <a:lnTo>
                    <a:pt x="1047433" y="235846"/>
                  </a:lnTo>
                  <a:lnTo>
                    <a:pt x="1040177" y="215982"/>
                  </a:lnTo>
                  <a:lnTo>
                    <a:pt x="1007534" y="155474"/>
                  </a:lnTo>
                  <a:lnTo>
                    <a:pt x="964305" y="103023"/>
                  </a:lnTo>
                  <a:lnTo>
                    <a:pt x="911728" y="59894"/>
                  </a:lnTo>
                  <a:lnTo>
                    <a:pt x="851063" y="27297"/>
                  </a:lnTo>
                  <a:lnTo>
                    <a:pt x="784500" y="6828"/>
                  </a:lnTo>
                  <a:lnTo>
                    <a:pt x="749820" y="1707"/>
                  </a:lnTo>
                  <a:lnTo>
                    <a:pt x="714208" y="0"/>
                  </a:lnTo>
                  <a:close/>
                </a:path>
                <a:path w="1068070" h="913765">
                  <a:moveTo>
                    <a:pt x="1047433" y="235846"/>
                  </a:moveTo>
                  <a:lnTo>
                    <a:pt x="665361" y="235846"/>
                  </a:lnTo>
                  <a:lnTo>
                    <a:pt x="697794" y="238873"/>
                  </a:lnTo>
                  <a:lnTo>
                    <a:pt x="728048" y="247953"/>
                  </a:lnTo>
                  <a:lnTo>
                    <a:pt x="782049" y="284263"/>
                  </a:lnTo>
                  <a:lnTo>
                    <a:pt x="819293" y="337327"/>
                  </a:lnTo>
                  <a:lnTo>
                    <a:pt x="831712" y="399705"/>
                  </a:lnTo>
                  <a:lnTo>
                    <a:pt x="831712" y="513911"/>
                  </a:lnTo>
                  <a:lnTo>
                    <a:pt x="819293" y="577854"/>
                  </a:lnTo>
                  <a:lnTo>
                    <a:pt x="782049" y="630598"/>
                  </a:lnTo>
                  <a:lnTo>
                    <a:pt x="728048" y="665979"/>
                  </a:lnTo>
                  <a:lnTo>
                    <a:pt x="665361" y="677769"/>
                  </a:lnTo>
                  <a:lnTo>
                    <a:pt x="1047980" y="677769"/>
                  </a:lnTo>
                  <a:lnTo>
                    <a:pt x="1052142" y="666515"/>
                  </a:lnTo>
                  <a:lnTo>
                    <a:pt x="1060700" y="632767"/>
                  </a:lnTo>
                  <a:lnTo>
                    <a:pt x="1065842" y="597623"/>
                  </a:lnTo>
                  <a:lnTo>
                    <a:pt x="1067559" y="561082"/>
                  </a:lnTo>
                  <a:lnTo>
                    <a:pt x="1067559" y="352533"/>
                  </a:lnTo>
                  <a:lnTo>
                    <a:pt x="1065842" y="317011"/>
                  </a:lnTo>
                  <a:lnTo>
                    <a:pt x="1060700" y="282412"/>
                  </a:lnTo>
                  <a:lnTo>
                    <a:pt x="1052142" y="248736"/>
                  </a:lnTo>
                  <a:lnTo>
                    <a:pt x="1047433" y="2358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9" name="object 11"/>
            <p:cNvSpPr>
              <a:spLocks noChangeArrowheads="1"/>
            </p:cNvSpPr>
            <p:nvPr userDrawn="1"/>
          </p:nvSpPr>
          <p:spPr bwMode="auto">
            <a:xfrm>
              <a:off x="11460163" y="6557010"/>
              <a:ext cx="1555750" cy="1985963"/>
            </a:xfrm>
            <a:custGeom>
              <a:avLst/>
              <a:gdLst>
                <a:gd name="T0" fmla="*/ 1097965 w 1554480"/>
                <a:gd name="T1" fmla="*/ 751649 h 1986279"/>
                <a:gd name="T2" fmla="*/ 1044575 w 1554480"/>
                <a:gd name="T3" fmla="*/ 625030 h 1986279"/>
                <a:gd name="T4" fmla="*/ 949007 w 1554480"/>
                <a:gd name="T5" fmla="*/ 529450 h 1986279"/>
                <a:gd name="T6" fmla="*/ 822375 w 1554480"/>
                <a:gd name="T7" fmla="*/ 476072 h 1986279"/>
                <a:gd name="T8" fmla="*/ 429514 w 1554480"/>
                <a:gd name="T9" fmla="*/ 469239 h 1986279"/>
                <a:gd name="T10" fmla="*/ 345109 w 1554480"/>
                <a:gd name="T11" fmla="*/ 503986 h 1986279"/>
                <a:gd name="T12" fmla="*/ 310349 w 1554480"/>
                <a:gd name="T13" fmla="*/ 585914 h 1986279"/>
                <a:gd name="T14" fmla="*/ 329882 w 1554480"/>
                <a:gd name="T15" fmla="*/ 652030 h 1986279"/>
                <a:gd name="T16" fmla="*/ 405599 w 1554480"/>
                <a:gd name="T17" fmla="*/ 702919 h 1986279"/>
                <a:gd name="T18" fmla="*/ 775055 w 1554480"/>
                <a:gd name="T19" fmla="*/ 707263 h 1986279"/>
                <a:gd name="T20" fmla="*/ 849388 w 1554480"/>
                <a:gd name="T21" fmla="*/ 757072 h 1986279"/>
                <a:gd name="T22" fmla="*/ 868946 w 1554480"/>
                <a:gd name="T23" fmla="*/ 821766 h 1986279"/>
                <a:gd name="T24" fmla="*/ 860247 w 1554480"/>
                <a:gd name="T25" fmla="*/ 1078115 h 1986279"/>
                <a:gd name="T26" fmla="*/ 796315 w 1554480"/>
                <a:gd name="T27" fmla="*/ 1138326 h 1986279"/>
                <a:gd name="T28" fmla="*/ 352539 w 1554480"/>
                <a:gd name="T29" fmla="*/ 1147013 h 1986279"/>
                <a:gd name="T30" fmla="*/ 268135 w 1554480"/>
                <a:gd name="T31" fmla="*/ 1112240 h 1986279"/>
                <a:gd name="T32" fmla="*/ 235851 w 1554480"/>
                <a:gd name="T33" fmla="*/ 1030325 h 1986279"/>
                <a:gd name="T34" fmla="*/ 233680 w 1554480"/>
                <a:gd name="T35" fmla="*/ 92887 h 1986279"/>
                <a:gd name="T36" fmla="*/ 182791 w 1554480"/>
                <a:gd name="T37" fmla="*/ 18859 h 1986279"/>
                <a:gd name="T38" fmla="*/ 116700 w 1554480"/>
                <a:gd name="T39" fmla="*/ 0 h 1986279"/>
                <a:gd name="T40" fmla="*/ 51282 w 1554480"/>
                <a:gd name="T41" fmla="*/ 18859 h 1986279"/>
                <a:gd name="T42" fmla="*/ 2095 w 1554480"/>
                <a:gd name="T43" fmla="*/ 92887 h 1986279"/>
                <a:gd name="T44" fmla="*/ 0 w 1554480"/>
                <a:gd name="T45" fmla="*/ 1030325 h 1986279"/>
                <a:gd name="T46" fmla="*/ 27330 w 1554480"/>
                <a:gd name="T47" fmla="*/ 1166876 h 1986279"/>
                <a:gd name="T48" fmla="*/ 104279 w 1554480"/>
                <a:gd name="T49" fmla="*/ 1281061 h 1986279"/>
                <a:gd name="T50" fmla="*/ 214757 w 1554480"/>
                <a:gd name="T51" fmla="*/ 1355559 h 1986279"/>
                <a:gd name="T52" fmla="*/ 352539 w 1554480"/>
                <a:gd name="T53" fmla="*/ 1382852 h 1986279"/>
                <a:gd name="T54" fmla="*/ 822375 w 1554480"/>
                <a:gd name="T55" fmla="*/ 1376032 h 1986279"/>
                <a:gd name="T56" fmla="*/ 949007 w 1554480"/>
                <a:gd name="T57" fmla="*/ 1323289 h 1986279"/>
                <a:gd name="T58" fmla="*/ 1044575 w 1554480"/>
                <a:gd name="T59" fmla="*/ 1227709 h 1986279"/>
                <a:gd name="T60" fmla="*/ 1097965 w 1554480"/>
                <a:gd name="T61" fmla="*/ 1100467 h 1986279"/>
                <a:gd name="T62" fmla="*/ 1104798 w 1554480"/>
                <a:gd name="T63" fmla="*/ 821766 h 1986279"/>
                <a:gd name="T64" fmla="*/ 1546021 w 1554480"/>
                <a:gd name="T65" fmla="*/ 559244 h 1986279"/>
                <a:gd name="T66" fmla="*/ 1483334 w 1554480"/>
                <a:gd name="T67" fmla="*/ 495300 h 1986279"/>
                <a:gd name="T68" fmla="*/ 1413814 w 1554480"/>
                <a:gd name="T69" fmla="*/ 488784 h 1986279"/>
                <a:gd name="T70" fmla="*/ 1338084 w 1554480"/>
                <a:gd name="T71" fmla="*/ 539534 h 1986279"/>
                <a:gd name="T72" fmla="*/ 1318539 w 1554480"/>
                <a:gd name="T73" fmla="*/ 603300 h 1986279"/>
                <a:gd name="T74" fmla="*/ 1316520 w 1554480"/>
                <a:gd name="T75" fmla="*/ 1658429 h 1986279"/>
                <a:gd name="T76" fmla="*/ 1269034 w 1554480"/>
                <a:gd name="T77" fmla="*/ 1732127 h 1986279"/>
                <a:gd name="T78" fmla="*/ 1204353 w 1554480"/>
                <a:gd name="T79" fmla="*/ 1750301 h 1986279"/>
                <a:gd name="T80" fmla="*/ 1024204 w 1554480"/>
                <a:gd name="T81" fmla="*/ 1752460 h 1986279"/>
                <a:gd name="T82" fmla="*/ 951903 w 1554480"/>
                <a:gd name="T83" fmla="*/ 1803349 h 1986279"/>
                <a:gd name="T84" fmla="*/ 933729 w 1554480"/>
                <a:gd name="T85" fmla="*/ 1869465 h 1986279"/>
                <a:gd name="T86" fmla="*/ 951903 w 1554480"/>
                <a:gd name="T87" fmla="*/ 1934870 h 1986279"/>
                <a:gd name="T88" fmla="*/ 1024204 w 1554480"/>
                <a:gd name="T89" fmla="*/ 1984057 h 1986279"/>
                <a:gd name="T90" fmla="*/ 1204353 w 1554480"/>
                <a:gd name="T91" fmla="*/ 1986153 h 1986279"/>
                <a:gd name="T92" fmla="*/ 1339659 w 1554480"/>
                <a:gd name="T93" fmla="*/ 1958835 h 1986279"/>
                <a:gd name="T94" fmla="*/ 1452626 w 1554480"/>
                <a:gd name="T95" fmla="*/ 1881873 h 1986279"/>
                <a:gd name="T96" fmla="*/ 1509166 w 1554480"/>
                <a:gd name="T97" fmla="*/ 1811248 h 1986279"/>
                <a:gd name="T98" fmla="*/ 1543088 w 1554480"/>
                <a:gd name="T99" fmla="*/ 1728495 h 1986279"/>
                <a:gd name="T100" fmla="*/ 1554403 w 1554480"/>
                <a:gd name="T101" fmla="*/ 1633613 h 1986279"/>
                <a:gd name="T102" fmla="*/ 1554403 w 1554480"/>
                <a:gd name="T103" fmla="*/ 219760 h 1986279"/>
                <a:gd name="T104" fmla="*/ 1520888 w 1554480"/>
                <a:gd name="T105" fmla="*/ 137439 h 1986279"/>
                <a:gd name="T106" fmla="*/ 1437716 w 1554480"/>
                <a:gd name="T107" fmla="*/ 104267 h 1986279"/>
                <a:gd name="T108" fmla="*/ 1371612 w 1554480"/>
                <a:gd name="T109" fmla="*/ 122936 h 1986279"/>
                <a:gd name="T110" fmla="*/ 1320711 w 1554480"/>
                <a:gd name="T111" fmla="*/ 196202 h 1986279"/>
                <a:gd name="T112" fmla="*/ 1318539 w 1554480"/>
                <a:gd name="T113" fmla="*/ 222211 h 1986279"/>
                <a:gd name="T114" fmla="*/ 1353312 w 1554480"/>
                <a:gd name="T115" fmla="*/ 305765 h 1986279"/>
                <a:gd name="T116" fmla="*/ 1437716 w 1554480"/>
                <a:gd name="T117" fmla="*/ 340131 h 1986279"/>
                <a:gd name="T118" fmla="*/ 1503121 w 1554480"/>
                <a:gd name="T119" fmla="*/ 320802 h 1986279"/>
                <a:gd name="T120" fmla="*/ 1552308 w 1554480"/>
                <a:gd name="T121" fmla="*/ 245859 h 1986279"/>
                <a:gd name="T122" fmla="*/ 1554403 w 1554480"/>
                <a:gd name="T123" fmla="*/ 219760 h 1986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4480" h="1986279">
                  <a:moveTo>
                    <a:pt x="1104798" y="821766"/>
                  </a:moveTo>
                  <a:lnTo>
                    <a:pt x="1097965" y="751649"/>
                  </a:lnTo>
                  <a:lnTo>
                    <a:pt x="1077493" y="685215"/>
                  </a:lnTo>
                  <a:lnTo>
                    <a:pt x="1044575" y="625030"/>
                  </a:lnTo>
                  <a:lnTo>
                    <a:pt x="1000531" y="573506"/>
                  </a:lnTo>
                  <a:lnTo>
                    <a:pt x="949007" y="529450"/>
                  </a:lnTo>
                  <a:lnTo>
                    <a:pt x="888822" y="496531"/>
                  </a:lnTo>
                  <a:lnTo>
                    <a:pt x="822375" y="476072"/>
                  </a:lnTo>
                  <a:lnTo>
                    <a:pt x="752259" y="469239"/>
                  </a:lnTo>
                  <a:lnTo>
                    <a:pt x="429514" y="469239"/>
                  </a:lnTo>
                  <a:lnTo>
                    <a:pt x="383565" y="477926"/>
                  </a:lnTo>
                  <a:lnTo>
                    <a:pt x="345109" y="503986"/>
                  </a:lnTo>
                  <a:lnTo>
                    <a:pt x="319024" y="541870"/>
                  </a:lnTo>
                  <a:lnTo>
                    <a:pt x="310349" y="585914"/>
                  </a:lnTo>
                  <a:lnTo>
                    <a:pt x="312508" y="609828"/>
                  </a:lnTo>
                  <a:lnTo>
                    <a:pt x="329882" y="652030"/>
                  </a:lnTo>
                  <a:lnTo>
                    <a:pt x="363397" y="685546"/>
                  </a:lnTo>
                  <a:lnTo>
                    <a:pt x="405599" y="702919"/>
                  </a:lnTo>
                  <a:lnTo>
                    <a:pt x="752259" y="705078"/>
                  </a:lnTo>
                  <a:lnTo>
                    <a:pt x="775055" y="707263"/>
                  </a:lnTo>
                  <a:lnTo>
                    <a:pt x="816025" y="724649"/>
                  </a:lnTo>
                  <a:lnTo>
                    <a:pt x="849388" y="757072"/>
                  </a:lnTo>
                  <a:lnTo>
                    <a:pt x="866775" y="798042"/>
                  </a:lnTo>
                  <a:lnTo>
                    <a:pt x="868946" y="821766"/>
                  </a:lnTo>
                  <a:lnTo>
                    <a:pt x="868946" y="1030325"/>
                  </a:lnTo>
                  <a:lnTo>
                    <a:pt x="860247" y="1078115"/>
                  </a:lnTo>
                  <a:lnTo>
                    <a:pt x="834186" y="1112240"/>
                  </a:lnTo>
                  <a:lnTo>
                    <a:pt x="796315" y="1138326"/>
                  </a:lnTo>
                  <a:lnTo>
                    <a:pt x="752259" y="1147013"/>
                  </a:lnTo>
                  <a:lnTo>
                    <a:pt x="352539" y="1147013"/>
                  </a:lnTo>
                  <a:lnTo>
                    <a:pt x="309092" y="1138326"/>
                  </a:lnTo>
                  <a:lnTo>
                    <a:pt x="268135" y="1112240"/>
                  </a:lnTo>
                  <a:lnTo>
                    <a:pt x="243916" y="1076871"/>
                  </a:lnTo>
                  <a:lnTo>
                    <a:pt x="235851" y="1030325"/>
                  </a:lnTo>
                  <a:lnTo>
                    <a:pt x="235851" y="116687"/>
                  </a:lnTo>
                  <a:lnTo>
                    <a:pt x="233680" y="92887"/>
                  </a:lnTo>
                  <a:lnTo>
                    <a:pt x="216306" y="51295"/>
                  </a:lnTo>
                  <a:lnTo>
                    <a:pt x="182791" y="18859"/>
                  </a:lnTo>
                  <a:lnTo>
                    <a:pt x="140576" y="2095"/>
                  </a:lnTo>
                  <a:lnTo>
                    <a:pt x="116700" y="0"/>
                  </a:lnTo>
                  <a:lnTo>
                    <a:pt x="92862" y="2095"/>
                  </a:lnTo>
                  <a:lnTo>
                    <a:pt x="51282" y="18859"/>
                  </a:lnTo>
                  <a:lnTo>
                    <a:pt x="18859" y="51295"/>
                  </a:lnTo>
                  <a:lnTo>
                    <a:pt x="2095" y="92887"/>
                  </a:lnTo>
                  <a:lnTo>
                    <a:pt x="0" y="116687"/>
                  </a:lnTo>
                  <a:lnTo>
                    <a:pt x="0" y="1030325"/>
                  </a:lnTo>
                  <a:lnTo>
                    <a:pt x="6819" y="1100467"/>
                  </a:lnTo>
                  <a:lnTo>
                    <a:pt x="27330" y="1166876"/>
                  </a:lnTo>
                  <a:lnTo>
                    <a:pt x="60198" y="1227709"/>
                  </a:lnTo>
                  <a:lnTo>
                    <a:pt x="104279" y="1281061"/>
                  </a:lnTo>
                  <a:lnTo>
                    <a:pt x="155473" y="1323289"/>
                  </a:lnTo>
                  <a:lnTo>
                    <a:pt x="214757" y="1355559"/>
                  </a:lnTo>
                  <a:lnTo>
                    <a:pt x="280860" y="1376032"/>
                  </a:lnTo>
                  <a:lnTo>
                    <a:pt x="352539" y="1382852"/>
                  </a:lnTo>
                  <a:lnTo>
                    <a:pt x="752259" y="1382852"/>
                  </a:lnTo>
                  <a:lnTo>
                    <a:pt x="822375" y="1376032"/>
                  </a:lnTo>
                  <a:lnTo>
                    <a:pt x="888822" y="1355559"/>
                  </a:lnTo>
                  <a:lnTo>
                    <a:pt x="949007" y="1323289"/>
                  </a:lnTo>
                  <a:lnTo>
                    <a:pt x="1000531" y="1281061"/>
                  </a:lnTo>
                  <a:lnTo>
                    <a:pt x="1044575" y="1227709"/>
                  </a:lnTo>
                  <a:lnTo>
                    <a:pt x="1077493" y="1166876"/>
                  </a:lnTo>
                  <a:lnTo>
                    <a:pt x="1097965" y="1100467"/>
                  </a:lnTo>
                  <a:lnTo>
                    <a:pt x="1104798" y="1030325"/>
                  </a:lnTo>
                  <a:lnTo>
                    <a:pt x="1104798" y="821766"/>
                  </a:lnTo>
                  <a:close/>
                </a:path>
                <a:path w="1554480" h="1986279">
                  <a:moveTo>
                    <a:pt x="1554403" y="603300"/>
                  </a:moveTo>
                  <a:lnTo>
                    <a:pt x="1546021" y="559244"/>
                  </a:lnTo>
                  <a:lnTo>
                    <a:pt x="1520888" y="521373"/>
                  </a:lnTo>
                  <a:lnTo>
                    <a:pt x="1483334" y="495300"/>
                  </a:lnTo>
                  <a:lnTo>
                    <a:pt x="1437716" y="486613"/>
                  </a:lnTo>
                  <a:lnTo>
                    <a:pt x="1413814" y="488784"/>
                  </a:lnTo>
                  <a:lnTo>
                    <a:pt x="1371612" y="506171"/>
                  </a:lnTo>
                  <a:lnTo>
                    <a:pt x="1338084" y="539534"/>
                  </a:lnTo>
                  <a:lnTo>
                    <a:pt x="1320711" y="580504"/>
                  </a:lnTo>
                  <a:lnTo>
                    <a:pt x="1318539" y="603300"/>
                  </a:lnTo>
                  <a:lnTo>
                    <a:pt x="1318539" y="1633613"/>
                  </a:lnTo>
                  <a:lnTo>
                    <a:pt x="1316520" y="1658429"/>
                  </a:lnTo>
                  <a:lnTo>
                    <a:pt x="1300391" y="1700631"/>
                  </a:lnTo>
                  <a:lnTo>
                    <a:pt x="1269034" y="1732127"/>
                  </a:lnTo>
                  <a:lnTo>
                    <a:pt x="1228077" y="1748269"/>
                  </a:lnTo>
                  <a:lnTo>
                    <a:pt x="1204353" y="1750301"/>
                  </a:lnTo>
                  <a:lnTo>
                    <a:pt x="1047940" y="1750301"/>
                  </a:lnTo>
                  <a:lnTo>
                    <a:pt x="1024204" y="1752460"/>
                  </a:lnTo>
                  <a:lnTo>
                    <a:pt x="983246" y="1769833"/>
                  </a:lnTo>
                  <a:lnTo>
                    <a:pt x="951903" y="1803349"/>
                  </a:lnTo>
                  <a:lnTo>
                    <a:pt x="935748" y="1845551"/>
                  </a:lnTo>
                  <a:lnTo>
                    <a:pt x="933729" y="1869465"/>
                  </a:lnTo>
                  <a:lnTo>
                    <a:pt x="935748" y="1893277"/>
                  </a:lnTo>
                  <a:lnTo>
                    <a:pt x="951903" y="1934870"/>
                  </a:lnTo>
                  <a:lnTo>
                    <a:pt x="983246" y="1967293"/>
                  </a:lnTo>
                  <a:lnTo>
                    <a:pt x="1024204" y="1984057"/>
                  </a:lnTo>
                  <a:lnTo>
                    <a:pt x="1047940" y="1986153"/>
                  </a:lnTo>
                  <a:lnTo>
                    <a:pt x="1204353" y="1986153"/>
                  </a:lnTo>
                  <a:lnTo>
                    <a:pt x="1274165" y="1979320"/>
                  </a:lnTo>
                  <a:lnTo>
                    <a:pt x="1339659" y="1958835"/>
                  </a:lnTo>
                  <a:lnTo>
                    <a:pt x="1399540" y="1925929"/>
                  </a:lnTo>
                  <a:lnTo>
                    <a:pt x="1452626" y="1881873"/>
                  </a:lnTo>
                  <a:lnTo>
                    <a:pt x="1483715" y="1848078"/>
                  </a:lnTo>
                  <a:lnTo>
                    <a:pt x="1509166" y="1811248"/>
                  </a:lnTo>
                  <a:lnTo>
                    <a:pt x="1528953" y="1771383"/>
                  </a:lnTo>
                  <a:lnTo>
                    <a:pt x="1543088" y="1728495"/>
                  </a:lnTo>
                  <a:lnTo>
                    <a:pt x="1551571" y="1682559"/>
                  </a:lnTo>
                  <a:lnTo>
                    <a:pt x="1554403" y="1633613"/>
                  </a:lnTo>
                  <a:lnTo>
                    <a:pt x="1554403" y="603300"/>
                  </a:lnTo>
                  <a:close/>
                </a:path>
                <a:path w="1554480" h="1986279">
                  <a:moveTo>
                    <a:pt x="1554403" y="219760"/>
                  </a:moveTo>
                  <a:lnTo>
                    <a:pt x="1546021" y="174612"/>
                  </a:lnTo>
                  <a:lnTo>
                    <a:pt x="1520888" y="137439"/>
                  </a:lnTo>
                  <a:lnTo>
                    <a:pt x="1483334" y="112560"/>
                  </a:lnTo>
                  <a:lnTo>
                    <a:pt x="1437716" y="104267"/>
                  </a:lnTo>
                  <a:lnTo>
                    <a:pt x="1413814" y="106349"/>
                  </a:lnTo>
                  <a:lnTo>
                    <a:pt x="1371612" y="122936"/>
                  </a:lnTo>
                  <a:lnTo>
                    <a:pt x="1338084" y="155028"/>
                  </a:lnTo>
                  <a:lnTo>
                    <a:pt x="1320711" y="196202"/>
                  </a:lnTo>
                  <a:lnTo>
                    <a:pt x="1318539" y="219760"/>
                  </a:lnTo>
                  <a:lnTo>
                    <a:pt x="1318539" y="222211"/>
                  </a:lnTo>
                  <a:lnTo>
                    <a:pt x="1327226" y="267677"/>
                  </a:lnTo>
                  <a:lnTo>
                    <a:pt x="1353312" y="305765"/>
                  </a:lnTo>
                  <a:lnTo>
                    <a:pt x="1391780" y="331546"/>
                  </a:lnTo>
                  <a:lnTo>
                    <a:pt x="1437716" y="340131"/>
                  </a:lnTo>
                  <a:lnTo>
                    <a:pt x="1461528" y="337985"/>
                  </a:lnTo>
                  <a:lnTo>
                    <a:pt x="1503121" y="320802"/>
                  </a:lnTo>
                  <a:lnTo>
                    <a:pt x="1535557" y="287642"/>
                  </a:lnTo>
                  <a:lnTo>
                    <a:pt x="1552308" y="245859"/>
                  </a:lnTo>
                  <a:lnTo>
                    <a:pt x="1554403" y="222211"/>
                  </a:lnTo>
                  <a:lnTo>
                    <a:pt x="1554403" y="2197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0" name="object 12"/>
            <p:cNvSpPr>
              <a:spLocks noChangeArrowheads="1"/>
            </p:cNvSpPr>
            <p:nvPr userDrawn="1"/>
          </p:nvSpPr>
          <p:spPr bwMode="auto">
            <a:xfrm>
              <a:off x="13196888" y="7029450"/>
              <a:ext cx="976312" cy="912813"/>
            </a:xfrm>
            <a:custGeom>
              <a:avLst/>
              <a:gdLst>
                <a:gd name="T0" fmla="*/ 335173 w 975994"/>
                <a:gd name="T1" fmla="*/ 0 h 913765"/>
                <a:gd name="T2" fmla="*/ 231116 w 975994"/>
                <a:gd name="T3" fmla="*/ 13976 h 913765"/>
                <a:gd name="T4" fmla="*/ 117695 w 975994"/>
                <a:gd name="T5" fmla="*/ 71851 h 913765"/>
                <a:gd name="T6" fmla="*/ 38472 w 975994"/>
                <a:gd name="T7" fmla="*/ 162167 h 913765"/>
                <a:gd name="T8" fmla="*/ 1549 w 975994"/>
                <a:gd name="T9" fmla="*/ 274814 h 913765"/>
                <a:gd name="T10" fmla="*/ 0 w 975994"/>
                <a:gd name="T11" fmla="*/ 583427 h 913765"/>
                <a:gd name="T12" fmla="*/ 8383 w 975994"/>
                <a:gd name="T13" fmla="*/ 664134 h 913765"/>
                <a:gd name="T14" fmla="*/ 71058 w 975994"/>
                <a:gd name="T15" fmla="*/ 789184 h 913765"/>
                <a:gd name="T16" fmla="*/ 168189 w 975994"/>
                <a:gd name="T17" fmla="*/ 870798 h 913765"/>
                <a:gd name="T18" fmla="*/ 278664 w 975994"/>
                <a:gd name="T19" fmla="*/ 908971 h 913765"/>
                <a:gd name="T20" fmla="*/ 856528 w 975994"/>
                <a:gd name="T21" fmla="*/ 913626 h 913765"/>
                <a:gd name="T22" fmla="*/ 940934 w 975994"/>
                <a:gd name="T23" fmla="*/ 880109 h 913765"/>
                <a:gd name="T24" fmla="*/ 975698 w 975994"/>
                <a:gd name="T25" fmla="*/ 796939 h 913765"/>
                <a:gd name="T26" fmla="*/ 956137 w 975994"/>
                <a:gd name="T27" fmla="*/ 730848 h 913765"/>
                <a:gd name="T28" fmla="*/ 880410 w 975994"/>
                <a:gd name="T29" fmla="*/ 679944 h 913765"/>
                <a:gd name="T30" fmla="*/ 360286 w 975994"/>
                <a:gd name="T31" fmla="*/ 675369 h 913765"/>
                <a:gd name="T32" fmla="*/ 258191 w 975994"/>
                <a:gd name="T33" fmla="*/ 617030 h 913765"/>
                <a:gd name="T34" fmla="*/ 235856 w 975994"/>
                <a:gd name="T35" fmla="*/ 513911 h 913765"/>
                <a:gd name="T36" fmla="*/ 245468 w 975994"/>
                <a:gd name="T37" fmla="*/ 318723 h 913765"/>
                <a:gd name="T38" fmla="*/ 319952 w 975994"/>
                <a:gd name="T39" fmla="*/ 244864 h 913765"/>
                <a:gd name="T40" fmla="*/ 692680 w 975994"/>
                <a:gd name="T41" fmla="*/ 235856 h 913765"/>
                <a:gd name="T42" fmla="*/ 747286 w 975994"/>
                <a:gd name="T43" fmla="*/ 296682 h 913765"/>
                <a:gd name="T44" fmla="*/ 725946 w 975994"/>
                <a:gd name="T45" fmla="*/ 346817 h 913765"/>
                <a:gd name="T46" fmla="*/ 407688 w 975994"/>
                <a:gd name="T47" fmla="*/ 359579 h 913765"/>
                <a:gd name="T48" fmla="*/ 336319 w 975994"/>
                <a:gd name="T49" fmla="*/ 407591 h 913765"/>
                <a:gd name="T50" fmla="*/ 320262 w 975994"/>
                <a:gd name="T51" fmla="*/ 463022 h 913765"/>
                <a:gd name="T52" fmla="*/ 336319 w 975994"/>
                <a:gd name="T53" fmla="*/ 518466 h 913765"/>
                <a:gd name="T54" fmla="*/ 407688 w 975994"/>
                <a:gd name="T55" fmla="*/ 566460 h 913765"/>
                <a:gd name="T56" fmla="*/ 692680 w 975994"/>
                <a:gd name="T57" fmla="*/ 568527 h 913765"/>
                <a:gd name="T58" fmla="*/ 782965 w 975994"/>
                <a:gd name="T59" fmla="*/ 557986 h 913765"/>
                <a:gd name="T60" fmla="*/ 855282 w 975994"/>
                <a:gd name="T61" fmla="*/ 526329 h 913765"/>
                <a:gd name="T62" fmla="*/ 947143 w 975994"/>
                <a:gd name="T63" fmla="*/ 420814 h 913765"/>
                <a:gd name="T64" fmla="*/ 970401 w 975994"/>
                <a:gd name="T65" fmla="*/ 320275 h 913765"/>
                <a:gd name="T66" fmla="*/ 955516 w 975994"/>
                <a:gd name="T67" fmla="*/ 213520 h 913765"/>
                <a:gd name="T68" fmla="*/ 880720 w 975994"/>
                <a:gd name="T69" fmla="*/ 89694 h 913765"/>
                <a:gd name="T70" fmla="*/ 819283 w 975994"/>
                <a:gd name="T71" fmla="*/ 42197 h 913765"/>
                <a:gd name="T72" fmla="*/ 742935 w 975994"/>
                <a:gd name="T73" fmla="*/ 10555 h 913765"/>
                <a:gd name="T74" fmla="*/ 652953 w 975994"/>
                <a:gd name="T75" fmla="*/ 0 h 91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75994" h="913765">
                  <a:moveTo>
                    <a:pt x="652953" y="0"/>
                  </a:moveTo>
                  <a:lnTo>
                    <a:pt x="335173" y="0"/>
                  </a:lnTo>
                  <a:lnTo>
                    <a:pt x="298778" y="1555"/>
                  </a:lnTo>
                  <a:lnTo>
                    <a:pt x="231116" y="13976"/>
                  </a:lnTo>
                  <a:lnTo>
                    <a:pt x="170444" y="38333"/>
                  </a:lnTo>
                  <a:lnTo>
                    <a:pt x="117695" y="71851"/>
                  </a:lnTo>
                  <a:lnTo>
                    <a:pt x="73233" y="113755"/>
                  </a:lnTo>
                  <a:lnTo>
                    <a:pt x="38472" y="162167"/>
                  </a:lnTo>
                  <a:lnTo>
                    <a:pt x="13958" y="216469"/>
                  </a:lnTo>
                  <a:lnTo>
                    <a:pt x="1549" y="274814"/>
                  </a:lnTo>
                  <a:lnTo>
                    <a:pt x="0" y="305372"/>
                  </a:lnTo>
                  <a:lnTo>
                    <a:pt x="0" y="583427"/>
                  </a:lnTo>
                  <a:lnTo>
                    <a:pt x="2096" y="625337"/>
                  </a:lnTo>
                  <a:lnTo>
                    <a:pt x="8383" y="664134"/>
                  </a:lnTo>
                  <a:lnTo>
                    <a:pt x="33517" y="732386"/>
                  </a:lnTo>
                  <a:lnTo>
                    <a:pt x="71058" y="789184"/>
                  </a:lnTo>
                  <a:lnTo>
                    <a:pt x="116687" y="835419"/>
                  </a:lnTo>
                  <a:lnTo>
                    <a:pt x="168189" y="870798"/>
                  </a:lnTo>
                  <a:lnTo>
                    <a:pt x="223438" y="895009"/>
                  </a:lnTo>
                  <a:lnTo>
                    <a:pt x="278664" y="908971"/>
                  </a:lnTo>
                  <a:lnTo>
                    <a:pt x="330199" y="913626"/>
                  </a:lnTo>
                  <a:lnTo>
                    <a:pt x="856528" y="913626"/>
                  </a:lnTo>
                  <a:lnTo>
                    <a:pt x="902438" y="905247"/>
                  </a:lnTo>
                  <a:lnTo>
                    <a:pt x="940934" y="880109"/>
                  </a:lnTo>
                  <a:lnTo>
                    <a:pt x="967001" y="842568"/>
                  </a:lnTo>
                  <a:lnTo>
                    <a:pt x="975698" y="796939"/>
                  </a:lnTo>
                  <a:lnTo>
                    <a:pt x="973523" y="773053"/>
                  </a:lnTo>
                  <a:lnTo>
                    <a:pt x="956137" y="730848"/>
                  </a:lnTo>
                  <a:lnTo>
                    <a:pt x="922613" y="697325"/>
                  </a:lnTo>
                  <a:lnTo>
                    <a:pt x="880410" y="679944"/>
                  </a:lnTo>
                  <a:lnTo>
                    <a:pt x="399705" y="677769"/>
                  </a:lnTo>
                  <a:lnTo>
                    <a:pt x="360286" y="675369"/>
                  </a:lnTo>
                  <a:lnTo>
                    <a:pt x="298216" y="656137"/>
                  </a:lnTo>
                  <a:lnTo>
                    <a:pt x="258191" y="617030"/>
                  </a:lnTo>
                  <a:lnTo>
                    <a:pt x="238336" y="554345"/>
                  </a:lnTo>
                  <a:lnTo>
                    <a:pt x="235856" y="513911"/>
                  </a:lnTo>
                  <a:lnTo>
                    <a:pt x="235856" y="387297"/>
                  </a:lnTo>
                  <a:lnTo>
                    <a:pt x="245468" y="318723"/>
                  </a:lnTo>
                  <a:lnTo>
                    <a:pt x="274337" y="271855"/>
                  </a:lnTo>
                  <a:lnTo>
                    <a:pt x="319952" y="244864"/>
                  </a:lnTo>
                  <a:lnTo>
                    <a:pt x="379852" y="235856"/>
                  </a:lnTo>
                  <a:lnTo>
                    <a:pt x="692680" y="235856"/>
                  </a:lnTo>
                  <a:lnTo>
                    <a:pt x="733632" y="254850"/>
                  </a:lnTo>
                  <a:lnTo>
                    <a:pt x="747286" y="296682"/>
                  </a:lnTo>
                  <a:lnTo>
                    <a:pt x="746429" y="307850"/>
                  </a:lnTo>
                  <a:lnTo>
                    <a:pt x="725946" y="346817"/>
                  </a:lnTo>
                  <a:lnTo>
                    <a:pt x="434468" y="357507"/>
                  </a:lnTo>
                  <a:lnTo>
                    <a:pt x="407688" y="359579"/>
                  </a:lnTo>
                  <a:lnTo>
                    <a:pt x="364864" y="376144"/>
                  </a:lnTo>
                  <a:lnTo>
                    <a:pt x="336319" y="407591"/>
                  </a:lnTo>
                  <a:lnTo>
                    <a:pt x="322045" y="443790"/>
                  </a:lnTo>
                  <a:lnTo>
                    <a:pt x="320262" y="463022"/>
                  </a:lnTo>
                  <a:lnTo>
                    <a:pt x="322045" y="482272"/>
                  </a:lnTo>
                  <a:lnTo>
                    <a:pt x="336319" y="518466"/>
                  </a:lnTo>
                  <a:lnTo>
                    <a:pt x="364864" y="549907"/>
                  </a:lnTo>
                  <a:lnTo>
                    <a:pt x="407688" y="566460"/>
                  </a:lnTo>
                  <a:lnTo>
                    <a:pt x="434468" y="568527"/>
                  </a:lnTo>
                  <a:lnTo>
                    <a:pt x="692680" y="568527"/>
                  </a:lnTo>
                  <a:lnTo>
                    <a:pt x="740065" y="565893"/>
                  </a:lnTo>
                  <a:lnTo>
                    <a:pt x="782965" y="557986"/>
                  </a:lnTo>
                  <a:lnTo>
                    <a:pt x="821374" y="544801"/>
                  </a:lnTo>
                  <a:lnTo>
                    <a:pt x="855282" y="526329"/>
                  </a:lnTo>
                  <a:lnTo>
                    <a:pt x="909895" y="478853"/>
                  </a:lnTo>
                  <a:lnTo>
                    <a:pt x="947143" y="420814"/>
                  </a:lnTo>
                  <a:lnTo>
                    <a:pt x="966982" y="355029"/>
                  </a:lnTo>
                  <a:lnTo>
                    <a:pt x="970401" y="320275"/>
                  </a:lnTo>
                  <a:lnTo>
                    <a:pt x="969488" y="284274"/>
                  </a:lnTo>
                  <a:lnTo>
                    <a:pt x="955516" y="213520"/>
                  </a:lnTo>
                  <a:lnTo>
                    <a:pt x="926034" y="147723"/>
                  </a:lnTo>
                  <a:lnTo>
                    <a:pt x="880720" y="89694"/>
                  </a:lnTo>
                  <a:lnTo>
                    <a:pt x="852015" y="64633"/>
                  </a:lnTo>
                  <a:lnTo>
                    <a:pt x="819283" y="42197"/>
                  </a:lnTo>
                  <a:lnTo>
                    <a:pt x="782813" y="23743"/>
                  </a:lnTo>
                  <a:lnTo>
                    <a:pt x="742935" y="10555"/>
                  </a:lnTo>
                  <a:lnTo>
                    <a:pt x="699648" y="2639"/>
                  </a:lnTo>
                  <a:lnTo>
                    <a:pt x="6529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12192000" cy="136176"/>
          </a:xfrm>
          <a:prstGeom prst="rect">
            <a:avLst/>
          </a:prstGeom>
          <a:solidFill>
            <a:srgbClr val="028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3" name="矩形 22"/>
          <p:cNvSpPr/>
          <p:nvPr userDrawn="1"/>
        </p:nvSpPr>
        <p:spPr>
          <a:xfrm>
            <a:off x="0" y="6721824"/>
            <a:ext cx="12192000" cy="136176"/>
          </a:xfrm>
          <a:prstGeom prst="rect">
            <a:avLst/>
          </a:prstGeom>
          <a:solidFill>
            <a:srgbClr val="0288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1" name="组合 60"/>
          <p:cNvGrpSpPr/>
          <p:nvPr userDrawn="1"/>
        </p:nvGrpSpPr>
        <p:grpSpPr>
          <a:xfrm>
            <a:off x="10724220" y="182244"/>
            <a:ext cx="1371987" cy="505967"/>
            <a:chOff x="8416113" y="2173527"/>
            <a:chExt cx="2609343" cy="962284"/>
          </a:xfrm>
        </p:grpSpPr>
        <p:sp>
          <p:nvSpPr>
            <p:cNvPr id="62" name="object 56"/>
            <p:cNvSpPr>
              <a:spLocks noChangeArrowheads="1"/>
            </p:cNvSpPr>
            <p:nvPr userDrawn="1"/>
          </p:nvSpPr>
          <p:spPr bwMode="auto">
            <a:xfrm>
              <a:off x="9592223" y="2173527"/>
              <a:ext cx="10347" cy="962284"/>
            </a:xfrm>
            <a:custGeom>
              <a:avLst/>
              <a:gdLst>
                <a:gd name="T0" fmla="*/ 11591 w 12065"/>
                <a:gd name="T1" fmla="*/ 0 h 1180465"/>
                <a:gd name="T2" fmla="*/ 0 w 12065"/>
                <a:gd name="T3" fmla="*/ 0 h 1180465"/>
                <a:gd name="T4" fmla="*/ 0 w 12065"/>
                <a:gd name="T5" fmla="*/ 1180131 h 1180465"/>
                <a:gd name="T6" fmla="*/ 11591 w 12065"/>
                <a:gd name="T7" fmla="*/ 1180131 h 1180465"/>
                <a:gd name="T8" fmla="*/ 11591 w 12065"/>
                <a:gd name="T9" fmla="*/ 0 h 1180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65" h="1180465">
                  <a:moveTo>
                    <a:pt x="11591" y="0"/>
                  </a:moveTo>
                  <a:lnTo>
                    <a:pt x="0" y="0"/>
                  </a:lnTo>
                  <a:lnTo>
                    <a:pt x="0" y="1180131"/>
                  </a:lnTo>
                  <a:lnTo>
                    <a:pt x="11591" y="1180131"/>
                  </a:lnTo>
                  <a:lnTo>
                    <a:pt x="11591" y="0"/>
                  </a:lnTo>
                  <a:close/>
                </a:path>
              </a:pathLst>
            </a:custGeom>
            <a:solidFill>
              <a:srgbClr val="6C6C6C"/>
            </a:solidFill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63" name="组合 62"/>
            <p:cNvGrpSpPr/>
            <p:nvPr userDrawn="1"/>
          </p:nvGrpSpPr>
          <p:grpSpPr>
            <a:xfrm>
              <a:off x="9799320" y="2181287"/>
              <a:ext cx="1226136" cy="946763"/>
              <a:chOff x="3252153" y="2959418"/>
              <a:chExt cx="1504950" cy="1162050"/>
            </a:xfrm>
          </p:grpSpPr>
          <p:grpSp>
            <p:nvGrpSpPr>
              <p:cNvPr id="76" name="object 57"/>
              <p:cNvGrpSpPr/>
              <p:nvPr userDrawn="1"/>
            </p:nvGrpSpPr>
            <p:grpSpPr bwMode="auto">
              <a:xfrm>
                <a:off x="3255328" y="4003993"/>
                <a:ext cx="1477962" cy="117475"/>
                <a:chOff x="9666427" y="7834490"/>
                <a:chExt cx="1477645" cy="116839"/>
              </a:xfrm>
            </p:grpSpPr>
            <p:pic>
              <p:nvPicPr>
                <p:cNvPr id="88" name="object 58"/>
                <p:cNvPicPr>
                  <a:picLocks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31655" y="7836230"/>
                  <a:ext cx="104426" cy="1123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9" name="object 59"/>
                <p:cNvSpPr>
                  <a:spLocks noChangeArrowheads="1"/>
                </p:cNvSpPr>
                <p:nvPr/>
              </p:nvSpPr>
              <p:spPr bwMode="auto">
                <a:xfrm>
                  <a:off x="10002407" y="7889309"/>
                  <a:ext cx="43815" cy="19685"/>
                </a:xfrm>
                <a:custGeom>
                  <a:avLst/>
                  <a:gdLst>
                    <a:gd name="T0" fmla="*/ 43464 w 43815"/>
                    <a:gd name="T1" fmla="*/ 0 h 19684"/>
                    <a:gd name="T2" fmla="*/ 0 w 43815"/>
                    <a:gd name="T3" fmla="*/ 0 h 19684"/>
                    <a:gd name="T4" fmla="*/ 0 w 43815"/>
                    <a:gd name="T5" fmla="*/ 19266 h 19684"/>
                    <a:gd name="T6" fmla="*/ 43464 w 43815"/>
                    <a:gd name="T7" fmla="*/ 19266 h 19684"/>
                    <a:gd name="T8" fmla="*/ 43464 w 43815"/>
                    <a:gd name="T9" fmla="*/ 0 h 19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815" h="19684">
                      <a:moveTo>
                        <a:pt x="43464" y="0"/>
                      </a:moveTo>
                      <a:lnTo>
                        <a:pt x="0" y="0"/>
                      </a:lnTo>
                      <a:lnTo>
                        <a:pt x="0" y="19266"/>
                      </a:lnTo>
                      <a:lnTo>
                        <a:pt x="43464" y="19266"/>
                      </a:lnTo>
                      <a:lnTo>
                        <a:pt x="43464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90" name="object 60"/>
                <p:cNvPicPr>
                  <a:picLocks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065354" y="7835727"/>
                  <a:ext cx="222169" cy="1150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91" name="object 61"/>
                <p:cNvSpPr>
                  <a:spLocks noChangeArrowheads="1"/>
                </p:cNvSpPr>
                <p:nvPr/>
              </p:nvSpPr>
              <p:spPr bwMode="auto">
                <a:xfrm>
                  <a:off x="10313721" y="7836960"/>
                  <a:ext cx="58419" cy="111760"/>
                </a:xfrm>
                <a:custGeom>
                  <a:avLst/>
                  <a:gdLst>
                    <a:gd name="T0" fmla="*/ 57975 w 58420"/>
                    <a:gd name="T1" fmla="*/ 92710 h 111759"/>
                    <a:gd name="T2" fmla="*/ 21450 w 58420"/>
                    <a:gd name="T3" fmla="*/ 92710 h 111759"/>
                    <a:gd name="T4" fmla="*/ 21450 w 58420"/>
                    <a:gd name="T5" fmla="*/ 0 h 111759"/>
                    <a:gd name="T6" fmla="*/ 0 w 58420"/>
                    <a:gd name="T7" fmla="*/ 0 h 111759"/>
                    <a:gd name="T8" fmla="*/ 0 w 58420"/>
                    <a:gd name="T9" fmla="*/ 92710 h 111759"/>
                    <a:gd name="T10" fmla="*/ 0 w 58420"/>
                    <a:gd name="T11" fmla="*/ 111760 h 111759"/>
                    <a:gd name="T12" fmla="*/ 57975 w 58420"/>
                    <a:gd name="T13" fmla="*/ 111760 h 111759"/>
                    <a:gd name="T14" fmla="*/ 57975 w 58420"/>
                    <a:gd name="T15" fmla="*/ 92710 h 111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420" h="111759">
                      <a:moveTo>
                        <a:pt x="57975" y="92710"/>
                      </a:moveTo>
                      <a:lnTo>
                        <a:pt x="21450" y="92710"/>
                      </a:lnTo>
                      <a:lnTo>
                        <a:pt x="21450" y="0"/>
                      </a:lnTo>
                      <a:lnTo>
                        <a:pt x="0" y="0"/>
                      </a:lnTo>
                      <a:lnTo>
                        <a:pt x="0" y="92710"/>
                      </a:lnTo>
                      <a:lnTo>
                        <a:pt x="0" y="111760"/>
                      </a:lnTo>
                      <a:lnTo>
                        <a:pt x="57975" y="111760"/>
                      </a:lnTo>
                      <a:lnTo>
                        <a:pt x="57975" y="9271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92" name="object 62"/>
                <p:cNvPicPr>
                  <a:picLocks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394926" y="7834992"/>
                  <a:ext cx="334506" cy="1162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93" name="object 63"/>
                <p:cNvPicPr>
                  <a:picLocks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44226" y="7834490"/>
                  <a:ext cx="95033" cy="11625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94" name="object 64"/>
                <p:cNvSpPr>
                  <a:spLocks noChangeArrowheads="1"/>
                </p:cNvSpPr>
                <p:nvPr/>
              </p:nvSpPr>
              <p:spPr bwMode="auto">
                <a:xfrm>
                  <a:off x="10966421" y="7836226"/>
                  <a:ext cx="61594" cy="112395"/>
                </a:xfrm>
                <a:custGeom>
                  <a:avLst/>
                  <a:gdLst>
                    <a:gd name="T0" fmla="*/ 60971 w 61595"/>
                    <a:gd name="T1" fmla="*/ 0 h 112395"/>
                    <a:gd name="T2" fmla="*/ 0 w 61595"/>
                    <a:gd name="T3" fmla="*/ 0 h 112395"/>
                    <a:gd name="T4" fmla="*/ 0 w 61595"/>
                    <a:gd name="T5" fmla="*/ 112321 h 112395"/>
                    <a:gd name="T6" fmla="*/ 60971 w 61595"/>
                    <a:gd name="T7" fmla="*/ 112321 h 112395"/>
                    <a:gd name="T8" fmla="*/ 60971 w 61595"/>
                    <a:gd name="T9" fmla="*/ 93808 h 112395"/>
                    <a:gd name="T10" fmla="*/ 21727 w 61595"/>
                    <a:gd name="T11" fmla="*/ 93808 h 112395"/>
                    <a:gd name="T12" fmla="*/ 21727 w 61595"/>
                    <a:gd name="T13" fmla="*/ 63453 h 112395"/>
                    <a:gd name="T14" fmla="*/ 59013 w 61595"/>
                    <a:gd name="T15" fmla="*/ 63453 h 112395"/>
                    <a:gd name="T16" fmla="*/ 59013 w 61595"/>
                    <a:gd name="T17" fmla="*/ 45663 h 112395"/>
                    <a:gd name="T18" fmla="*/ 21727 w 61595"/>
                    <a:gd name="T19" fmla="*/ 45663 h 112395"/>
                    <a:gd name="T20" fmla="*/ 21727 w 61595"/>
                    <a:gd name="T21" fmla="*/ 18271 h 112395"/>
                    <a:gd name="T22" fmla="*/ 60971 w 61595"/>
                    <a:gd name="T23" fmla="*/ 18271 h 112395"/>
                    <a:gd name="T24" fmla="*/ 60971 w 61595"/>
                    <a:gd name="T2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1595" h="112395">
                      <a:moveTo>
                        <a:pt x="60971" y="0"/>
                      </a:moveTo>
                      <a:lnTo>
                        <a:pt x="0" y="0"/>
                      </a:lnTo>
                      <a:lnTo>
                        <a:pt x="0" y="112321"/>
                      </a:lnTo>
                      <a:lnTo>
                        <a:pt x="60971" y="112321"/>
                      </a:lnTo>
                      <a:lnTo>
                        <a:pt x="60971" y="93808"/>
                      </a:lnTo>
                      <a:lnTo>
                        <a:pt x="21727" y="93808"/>
                      </a:lnTo>
                      <a:lnTo>
                        <a:pt x="21727" y="63453"/>
                      </a:lnTo>
                      <a:lnTo>
                        <a:pt x="59013" y="63453"/>
                      </a:lnTo>
                      <a:lnTo>
                        <a:pt x="59013" y="45663"/>
                      </a:lnTo>
                      <a:lnTo>
                        <a:pt x="21727" y="45663"/>
                      </a:lnTo>
                      <a:lnTo>
                        <a:pt x="21727" y="18271"/>
                      </a:lnTo>
                      <a:lnTo>
                        <a:pt x="60971" y="18271"/>
                      </a:lnTo>
                      <a:lnTo>
                        <a:pt x="60971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95" name="object 65"/>
                <p:cNvPicPr>
                  <a:picLocks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051085" y="7836233"/>
                  <a:ext cx="92845" cy="112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96" name="object 66"/>
                <p:cNvSpPr>
                  <a:spLocks noChangeArrowheads="1"/>
                </p:cNvSpPr>
                <p:nvPr/>
              </p:nvSpPr>
              <p:spPr bwMode="auto">
                <a:xfrm>
                  <a:off x="9666414" y="7836960"/>
                  <a:ext cx="318770" cy="112395"/>
                </a:xfrm>
                <a:custGeom>
                  <a:avLst/>
                  <a:gdLst>
                    <a:gd name="T0" fmla="*/ 57785 w 318770"/>
                    <a:gd name="T1" fmla="*/ 0 h 112395"/>
                    <a:gd name="T2" fmla="*/ 0 w 318770"/>
                    <a:gd name="T3" fmla="*/ 0 h 112395"/>
                    <a:gd name="T4" fmla="*/ 0 w 318770"/>
                    <a:gd name="T5" fmla="*/ 112331 h 112395"/>
                    <a:gd name="T6" fmla="*/ 22212 w 318770"/>
                    <a:gd name="T7" fmla="*/ 112331 h 112395"/>
                    <a:gd name="T8" fmla="*/ 22212 w 318770"/>
                    <a:gd name="T9" fmla="*/ 65913 h 112395"/>
                    <a:gd name="T10" fmla="*/ 57785 w 318770"/>
                    <a:gd name="T11" fmla="*/ 65913 h 112395"/>
                    <a:gd name="T12" fmla="*/ 57785 w 318770"/>
                    <a:gd name="T13" fmla="*/ 44691 h 112395"/>
                    <a:gd name="T14" fmla="*/ 22212 w 318770"/>
                    <a:gd name="T15" fmla="*/ 44691 h 112395"/>
                    <a:gd name="T16" fmla="*/ 22212 w 318770"/>
                    <a:gd name="T17" fmla="*/ 21247 h 112395"/>
                    <a:gd name="T18" fmla="*/ 57785 w 318770"/>
                    <a:gd name="T19" fmla="*/ 21247 h 112395"/>
                    <a:gd name="T20" fmla="*/ 57785 w 318770"/>
                    <a:gd name="T21" fmla="*/ 0 h 112395"/>
                    <a:gd name="T22" fmla="*/ 176022 w 318770"/>
                    <a:gd name="T23" fmla="*/ 112344 h 112395"/>
                    <a:gd name="T24" fmla="*/ 167894 w 318770"/>
                    <a:gd name="T25" fmla="*/ 89623 h 112395"/>
                    <a:gd name="T26" fmla="*/ 160642 w 318770"/>
                    <a:gd name="T27" fmla="*/ 69380 h 112395"/>
                    <a:gd name="T28" fmla="*/ 144729 w 318770"/>
                    <a:gd name="T29" fmla="*/ 24942 h 112395"/>
                    <a:gd name="T30" fmla="*/ 138506 w 318770"/>
                    <a:gd name="T31" fmla="*/ 7569 h 112395"/>
                    <a:gd name="T32" fmla="*/ 138506 w 318770"/>
                    <a:gd name="T33" fmla="*/ 69380 h 112395"/>
                    <a:gd name="T34" fmla="*/ 109359 w 318770"/>
                    <a:gd name="T35" fmla="*/ 69380 h 112395"/>
                    <a:gd name="T36" fmla="*/ 123926 w 318770"/>
                    <a:gd name="T37" fmla="*/ 24942 h 112395"/>
                    <a:gd name="T38" fmla="*/ 138506 w 318770"/>
                    <a:gd name="T39" fmla="*/ 69380 h 112395"/>
                    <a:gd name="T40" fmla="*/ 138506 w 318770"/>
                    <a:gd name="T41" fmla="*/ 7569 h 112395"/>
                    <a:gd name="T42" fmla="*/ 135801 w 318770"/>
                    <a:gd name="T43" fmla="*/ 12 h 112395"/>
                    <a:gd name="T44" fmla="*/ 112090 w 318770"/>
                    <a:gd name="T45" fmla="*/ 12 h 112395"/>
                    <a:gd name="T46" fmla="*/ 71589 w 318770"/>
                    <a:gd name="T47" fmla="*/ 112344 h 112395"/>
                    <a:gd name="T48" fmla="*/ 95529 w 318770"/>
                    <a:gd name="T49" fmla="*/ 112344 h 112395"/>
                    <a:gd name="T50" fmla="*/ 102946 w 318770"/>
                    <a:gd name="T51" fmla="*/ 89623 h 112395"/>
                    <a:gd name="T52" fmla="*/ 144932 w 318770"/>
                    <a:gd name="T53" fmla="*/ 89623 h 112395"/>
                    <a:gd name="T54" fmla="*/ 152069 w 318770"/>
                    <a:gd name="T55" fmla="*/ 112344 h 112395"/>
                    <a:gd name="T56" fmla="*/ 176022 w 318770"/>
                    <a:gd name="T57" fmla="*/ 112344 h 112395"/>
                    <a:gd name="T58" fmla="*/ 318223 w 318770"/>
                    <a:gd name="T59" fmla="*/ 0 h 112395"/>
                    <a:gd name="T60" fmla="*/ 296735 w 318770"/>
                    <a:gd name="T61" fmla="*/ 0 h 112395"/>
                    <a:gd name="T62" fmla="*/ 276999 w 318770"/>
                    <a:gd name="T63" fmla="*/ 78511 h 112395"/>
                    <a:gd name="T64" fmla="*/ 260451 w 318770"/>
                    <a:gd name="T65" fmla="*/ 0 h 112395"/>
                    <a:gd name="T66" fmla="*/ 235762 w 318770"/>
                    <a:gd name="T67" fmla="*/ 0 h 112395"/>
                    <a:gd name="T68" fmla="*/ 218973 w 318770"/>
                    <a:gd name="T69" fmla="*/ 78511 h 112395"/>
                    <a:gd name="T70" fmla="*/ 199224 w 318770"/>
                    <a:gd name="T71" fmla="*/ 0 h 112395"/>
                    <a:gd name="T72" fmla="*/ 177736 w 318770"/>
                    <a:gd name="T73" fmla="*/ 0 h 112395"/>
                    <a:gd name="T74" fmla="*/ 207124 w 318770"/>
                    <a:gd name="T75" fmla="*/ 112331 h 112395"/>
                    <a:gd name="T76" fmla="*/ 232308 w 318770"/>
                    <a:gd name="T77" fmla="*/ 112331 h 112395"/>
                    <a:gd name="T78" fmla="*/ 248094 w 318770"/>
                    <a:gd name="T79" fmla="*/ 35560 h 112395"/>
                    <a:gd name="T80" fmla="*/ 263906 w 318770"/>
                    <a:gd name="T81" fmla="*/ 112331 h 112395"/>
                    <a:gd name="T82" fmla="*/ 288836 w 318770"/>
                    <a:gd name="T83" fmla="*/ 112331 h 112395"/>
                    <a:gd name="T84" fmla="*/ 318223 w 318770"/>
                    <a:gd name="T8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318770" h="112395">
                      <a:moveTo>
                        <a:pt x="57785" y="0"/>
                      </a:moveTo>
                      <a:lnTo>
                        <a:pt x="0" y="0"/>
                      </a:lnTo>
                      <a:lnTo>
                        <a:pt x="0" y="112331"/>
                      </a:lnTo>
                      <a:lnTo>
                        <a:pt x="22212" y="112331"/>
                      </a:lnTo>
                      <a:lnTo>
                        <a:pt x="22212" y="65913"/>
                      </a:lnTo>
                      <a:lnTo>
                        <a:pt x="57785" y="65913"/>
                      </a:lnTo>
                      <a:lnTo>
                        <a:pt x="57785" y="44691"/>
                      </a:lnTo>
                      <a:lnTo>
                        <a:pt x="22212" y="44691"/>
                      </a:lnTo>
                      <a:lnTo>
                        <a:pt x="22212" y="21247"/>
                      </a:lnTo>
                      <a:lnTo>
                        <a:pt x="57785" y="21247"/>
                      </a:lnTo>
                      <a:lnTo>
                        <a:pt x="57785" y="0"/>
                      </a:lnTo>
                      <a:close/>
                    </a:path>
                    <a:path w="318770" h="112395">
                      <a:moveTo>
                        <a:pt x="176022" y="112344"/>
                      </a:moveTo>
                      <a:lnTo>
                        <a:pt x="167894" y="89623"/>
                      </a:lnTo>
                      <a:lnTo>
                        <a:pt x="160642" y="69380"/>
                      </a:lnTo>
                      <a:lnTo>
                        <a:pt x="144729" y="24942"/>
                      </a:lnTo>
                      <a:lnTo>
                        <a:pt x="138506" y="7569"/>
                      </a:lnTo>
                      <a:lnTo>
                        <a:pt x="138506" y="69380"/>
                      </a:lnTo>
                      <a:lnTo>
                        <a:pt x="109359" y="69380"/>
                      </a:lnTo>
                      <a:lnTo>
                        <a:pt x="123926" y="24942"/>
                      </a:lnTo>
                      <a:lnTo>
                        <a:pt x="138506" y="69380"/>
                      </a:lnTo>
                      <a:lnTo>
                        <a:pt x="138506" y="7569"/>
                      </a:lnTo>
                      <a:lnTo>
                        <a:pt x="135801" y="12"/>
                      </a:lnTo>
                      <a:lnTo>
                        <a:pt x="112090" y="12"/>
                      </a:lnTo>
                      <a:lnTo>
                        <a:pt x="71589" y="112344"/>
                      </a:lnTo>
                      <a:lnTo>
                        <a:pt x="95529" y="112344"/>
                      </a:lnTo>
                      <a:lnTo>
                        <a:pt x="102946" y="89623"/>
                      </a:lnTo>
                      <a:lnTo>
                        <a:pt x="144932" y="89623"/>
                      </a:lnTo>
                      <a:lnTo>
                        <a:pt x="152069" y="112344"/>
                      </a:lnTo>
                      <a:lnTo>
                        <a:pt x="176022" y="112344"/>
                      </a:lnTo>
                      <a:close/>
                    </a:path>
                    <a:path w="318770" h="112395">
                      <a:moveTo>
                        <a:pt x="318223" y="0"/>
                      </a:moveTo>
                      <a:lnTo>
                        <a:pt x="296735" y="0"/>
                      </a:lnTo>
                      <a:lnTo>
                        <a:pt x="276999" y="78511"/>
                      </a:lnTo>
                      <a:lnTo>
                        <a:pt x="260451" y="0"/>
                      </a:lnTo>
                      <a:lnTo>
                        <a:pt x="235762" y="0"/>
                      </a:lnTo>
                      <a:lnTo>
                        <a:pt x="218973" y="78511"/>
                      </a:lnTo>
                      <a:lnTo>
                        <a:pt x="199224" y="0"/>
                      </a:lnTo>
                      <a:lnTo>
                        <a:pt x="177736" y="0"/>
                      </a:lnTo>
                      <a:lnTo>
                        <a:pt x="207124" y="112331"/>
                      </a:lnTo>
                      <a:lnTo>
                        <a:pt x="232308" y="112331"/>
                      </a:lnTo>
                      <a:lnTo>
                        <a:pt x="248094" y="35560"/>
                      </a:lnTo>
                      <a:lnTo>
                        <a:pt x="263906" y="112331"/>
                      </a:lnTo>
                      <a:lnTo>
                        <a:pt x="288836" y="112331"/>
                      </a:lnTo>
                      <a:lnTo>
                        <a:pt x="318223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grpSp>
            <p:nvGrpSpPr>
              <p:cNvPr id="77" name="object 67"/>
              <p:cNvGrpSpPr/>
              <p:nvPr userDrawn="1"/>
            </p:nvGrpSpPr>
            <p:grpSpPr bwMode="auto">
              <a:xfrm>
                <a:off x="3255328" y="3664268"/>
                <a:ext cx="1479550" cy="282575"/>
                <a:chOff x="9666940" y="7495307"/>
                <a:chExt cx="1479550" cy="281940"/>
              </a:xfrm>
            </p:grpSpPr>
            <p:sp>
              <p:nvSpPr>
                <p:cNvPr id="84" name="object 68"/>
                <p:cNvSpPr>
                  <a:spLocks noChangeArrowheads="1"/>
                </p:cNvSpPr>
                <p:nvPr/>
              </p:nvSpPr>
              <p:spPr bwMode="auto">
                <a:xfrm>
                  <a:off x="9666935" y="7603940"/>
                  <a:ext cx="763270" cy="50165"/>
                </a:xfrm>
                <a:custGeom>
                  <a:avLst/>
                  <a:gdLst>
                    <a:gd name="T0" fmla="*/ 270040 w 763270"/>
                    <a:gd name="T1" fmla="*/ 977 h 50165"/>
                    <a:gd name="T2" fmla="*/ 0 w 763270"/>
                    <a:gd name="T3" fmla="*/ 977 h 50165"/>
                    <a:gd name="T4" fmla="*/ 0 w 763270"/>
                    <a:gd name="T5" fmla="*/ 49606 h 50165"/>
                    <a:gd name="T6" fmla="*/ 270040 w 763270"/>
                    <a:gd name="T7" fmla="*/ 49606 h 50165"/>
                    <a:gd name="T8" fmla="*/ 270040 w 763270"/>
                    <a:gd name="T9" fmla="*/ 977 h 50165"/>
                    <a:gd name="T10" fmla="*/ 762787 w 763270"/>
                    <a:gd name="T11" fmla="*/ 0 h 50165"/>
                    <a:gd name="T12" fmla="*/ 665772 w 763270"/>
                    <a:gd name="T13" fmla="*/ 0 h 50165"/>
                    <a:gd name="T14" fmla="*/ 665772 w 763270"/>
                    <a:gd name="T15" fmla="*/ 46405 h 50165"/>
                    <a:gd name="T16" fmla="*/ 762787 w 763270"/>
                    <a:gd name="T17" fmla="*/ 46405 h 50165"/>
                    <a:gd name="T18" fmla="*/ 762787 w 763270"/>
                    <a:gd name="T19" fmla="*/ 0 h 50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63270" h="50165">
                      <a:moveTo>
                        <a:pt x="270040" y="977"/>
                      </a:moveTo>
                      <a:lnTo>
                        <a:pt x="0" y="977"/>
                      </a:lnTo>
                      <a:lnTo>
                        <a:pt x="0" y="49606"/>
                      </a:lnTo>
                      <a:lnTo>
                        <a:pt x="270040" y="49606"/>
                      </a:lnTo>
                      <a:lnTo>
                        <a:pt x="270040" y="977"/>
                      </a:lnTo>
                      <a:close/>
                    </a:path>
                    <a:path w="763270" h="50165">
                      <a:moveTo>
                        <a:pt x="762787" y="0"/>
                      </a:moveTo>
                      <a:lnTo>
                        <a:pt x="665772" y="0"/>
                      </a:lnTo>
                      <a:lnTo>
                        <a:pt x="665772" y="46405"/>
                      </a:lnTo>
                      <a:lnTo>
                        <a:pt x="762787" y="46405"/>
                      </a:lnTo>
                      <a:lnTo>
                        <a:pt x="762787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85" name="object 69"/>
                <p:cNvPicPr>
                  <a:picLocks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977469" y="7495307"/>
                  <a:ext cx="312532" cy="2814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6" name="object 70"/>
                <p:cNvPicPr>
                  <a:picLocks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20519" y="7617008"/>
                  <a:ext cx="325636" cy="1597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7" name="object 71"/>
                <p:cNvSpPr>
                  <a:spLocks noChangeArrowheads="1"/>
                </p:cNvSpPr>
                <p:nvPr/>
              </p:nvSpPr>
              <p:spPr bwMode="auto">
                <a:xfrm>
                  <a:off x="10464304" y="7495799"/>
                  <a:ext cx="675005" cy="281305"/>
                </a:xfrm>
                <a:custGeom>
                  <a:avLst/>
                  <a:gdLst>
                    <a:gd name="T0" fmla="*/ 313512 w 675004"/>
                    <a:gd name="T1" fmla="*/ 238721 h 281304"/>
                    <a:gd name="T2" fmla="*/ 304380 w 675004"/>
                    <a:gd name="T3" fmla="*/ 238721 h 281304"/>
                    <a:gd name="T4" fmla="*/ 295198 w 675004"/>
                    <a:gd name="T5" fmla="*/ 237807 h 281304"/>
                    <a:gd name="T6" fmla="*/ 288391 w 675004"/>
                    <a:gd name="T7" fmla="*/ 234873 h 281304"/>
                    <a:gd name="T8" fmla="*/ 282778 w 675004"/>
                    <a:gd name="T9" fmla="*/ 229666 h 281304"/>
                    <a:gd name="T10" fmla="*/ 277202 w 675004"/>
                    <a:gd name="T11" fmla="*/ 221932 h 281304"/>
                    <a:gd name="T12" fmla="*/ 196989 w 675004"/>
                    <a:gd name="T13" fmla="*/ 86906 h 281304"/>
                    <a:gd name="T14" fmla="*/ 312521 w 675004"/>
                    <a:gd name="T15" fmla="*/ 86906 h 281304"/>
                    <a:gd name="T16" fmla="*/ 312521 w 675004"/>
                    <a:gd name="T17" fmla="*/ 40487 h 281304"/>
                    <a:gd name="T18" fmla="*/ 186118 w 675004"/>
                    <a:gd name="T19" fmla="*/ 40487 h 281304"/>
                    <a:gd name="T20" fmla="*/ 186118 w 675004"/>
                    <a:gd name="T21" fmla="*/ 0 h 281304"/>
                    <a:gd name="T22" fmla="*/ 126873 w 675004"/>
                    <a:gd name="T23" fmla="*/ 0 h 281304"/>
                    <a:gd name="T24" fmla="*/ 126873 w 675004"/>
                    <a:gd name="T25" fmla="*/ 40487 h 281304"/>
                    <a:gd name="T26" fmla="*/ 965 w 675004"/>
                    <a:gd name="T27" fmla="*/ 40487 h 281304"/>
                    <a:gd name="T28" fmla="*/ 965 w 675004"/>
                    <a:gd name="T29" fmla="*/ 86906 h 281304"/>
                    <a:gd name="T30" fmla="*/ 116522 w 675004"/>
                    <a:gd name="T31" fmla="*/ 86906 h 281304"/>
                    <a:gd name="T32" fmla="*/ 36258 w 675004"/>
                    <a:gd name="T33" fmla="*/ 221932 h 281304"/>
                    <a:gd name="T34" fmla="*/ 30480 w 675004"/>
                    <a:gd name="T35" fmla="*/ 229666 h 281304"/>
                    <a:gd name="T36" fmla="*/ 24396 w 675004"/>
                    <a:gd name="T37" fmla="*/ 234873 h 281304"/>
                    <a:gd name="T38" fmla="*/ 17157 w 675004"/>
                    <a:gd name="T39" fmla="*/ 237807 h 281304"/>
                    <a:gd name="T40" fmla="*/ 7899 w 675004"/>
                    <a:gd name="T41" fmla="*/ 238721 h 281304"/>
                    <a:gd name="T42" fmla="*/ 0 w 675004"/>
                    <a:gd name="T43" fmla="*/ 238721 h 281304"/>
                    <a:gd name="T44" fmla="*/ 0 w 675004"/>
                    <a:gd name="T45" fmla="*/ 280936 h 281304"/>
                    <a:gd name="T46" fmla="*/ 22707 w 675004"/>
                    <a:gd name="T47" fmla="*/ 280936 h 281304"/>
                    <a:gd name="T48" fmla="*/ 42532 w 675004"/>
                    <a:gd name="T49" fmla="*/ 280479 h 281304"/>
                    <a:gd name="T50" fmla="*/ 57848 w 675004"/>
                    <a:gd name="T51" fmla="*/ 277317 h 281304"/>
                    <a:gd name="T52" fmla="*/ 70713 w 675004"/>
                    <a:gd name="T53" fmla="*/ 268744 h 281304"/>
                    <a:gd name="T54" fmla="*/ 83172 w 675004"/>
                    <a:gd name="T55" fmla="*/ 252056 h 281304"/>
                    <a:gd name="T56" fmla="*/ 156756 w 675004"/>
                    <a:gd name="T57" fmla="*/ 129120 h 281304"/>
                    <a:gd name="T58" fmla="*/ 230314 w 675004"/>
                    <a:gd name="T59" fmla="*/ 252056 h 281304"/>
                    <a:gd name="T60" fmla="*/ 242646 w 675004"/>
                    <a:gd name="T61" fmla="*/ 268744 h 281304"/>
                    <a:gd name="T62" fmla="*/ 255460 w 675004"/>
                    <a:gd name="T63" fmla="*/ 277317 h 281304"/>
                    <a:gd name="T64" fmla="*/ 270827 w 675004"/>
                    <a:gd name="T65" fmla="*/ 280479 h 281304"/>
                    <a:gd name="T66" fmla="*/ 290791 w 675004"/>
                    <a:gd name="T67" fmla="*/ 280936 h 281304"/>
                    <a:gd name="T68" fmla="*/ 313512 w 675004"/>
                    <a:gd name="T69" fmla="*/ 280936 h 281304"/>
                    <a:gd name="T70" fmla="*/ 313512 w 675004"/>
                    <a:gd name="T71" fmla="*/ 238721 h 281304"/>
                    <a:gd name="T72" fmla="*/ 674928 w 675004"/>
                    <a:gd name="T73" fmla="*/ 68872 h 281304"/>
                    <a:gd name="T74" fmla="*/ 653173 w 675004"/>
                    <a:gd name="T75" fmla="*/ 68872 h 281304"/>
                    <a:gd name="T76" fmla="*/ 622833 w 675004"/>
                    <a:gd name="T77" fmla="*/ 3213 h 281304"/>
                    <a:gd name="T78" fmla="*/ 419658 w 675004"/>
                    <a:gd name="T79" fmla="*/ 3213 h 281304"/>
                    <a:gd name="T80" fmla="*/ 395960 w 675004"/>
                    <a:gd name="T81" fmla="*/ 54330 h 281304"/>
                    <a:gd name="T82" fmla="*/ 389064 w 675004"/>
                    <a:gd name="T83" fmla="*/ 68872 h 281304"/>
                    <a:gd name="T84" fmla="*/ 367347 w 675004"/>
                    <a:gd name="T85" fmla="*/ 68872 h 281304"/>
                    <a:gd name="T86" fmla="*/ 367347 w 675004"/>
                    <a:gd name="T87" fmla="*/ 110591 h 281304"/>
                    <a:gd name="T88" fmla="*/ 396963 w 675004"/>
                    <a:gd name="T89" fmla="*/ 110591 h 281304"/>
                    <a:gd name="T90" fmla="*/ 411289 w 675004"/>
                    <a:gd name="T91" fmla="*/ 109651 h 281304"/>
                    <a:gd name="T92" fmla="*/ 422592 w 675004"/>
                    <a:gd name="T93" fmla="*/ 106095 h 281304"/>
                    <a:gd name="T94" fmla="*/ 431622 w 675004"/>
                    <a:gd name="T95" fmla="*/ 98729 h 281304"/>
                    <a:gd name="T96" fmla="*/ 439153 w 675004"/>
                    <a:gd name="T97" fmla="*/ 86423 h 281304"/>
                    <a:gd name="T98" fmla="*/ 455942 w 675004"/>
                    <a:gd name="T99" fmla="*/ 49860 h 281304"/>
                    <a:gd name="T100" fmla="*/ 586295 w 675004"/>
                    <a:gd name="T101" fmla="*/ 49860 h 281304"/>
                    <a:gd name="T102" fmla="*/ 604558 w 675004"/>
                    <a:gd name="T103" fmla="*/ 86423 h 281304"/>
                    <a:gd name="T104" fmla="*/ 647255 w 675004"/>
                    <a:gd name="T105" fmla="*/ 110591 h 281304"/>
                    <a:gd name="T106" fmla="*/ 674928 w 675004"/>
                    <a:gd name="T107" fmla="*/ 110591 h 281304"/>
                    <a:gd name="T108" fmla="*/ 674928 w 675004"/>
                    <a:gd name="T109" fmla="*/ 68872 h 281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75004" h="281304">
                      <a:moveTo>
                        <a:pt x="313512" y="238721"/>
                      </a:moveTo>
                      <a:lnTo>
                        <a:pt x="304380" y="238721"/>
                      </a:lnTo>
                      <a:lnTo>
                        <a:pt x="295198" y="237807"/>
                      </a:lnTo>
                      <a:lnTo>
                        <a:pt x="288391" y="234873"/>
                      </a:lnTo>
                      <a:lnTo>
                        <a:pt x="282778" y="229666"/>
                      </a:lnTo>
                      <a:lnTo>
                        <a:pt x="277202" y="221932"/>
                      </a:lnTo>
                      <a:lnTo>
                        <a:pt x="196989" y="86906"/>
                      </a:lnTo>
                      <a:lnTo>
                        <a:pt x="312521" y="86906"/>
                      </a:lnTo>
                      <a:lnTo>
                        <a:pt x="312521" y="40487"/>
                      </a:lnTo>
                      <a:lnTo>
                        <a:pt x="186118" y="40487"/>
                      </a:lnTo>
                      <a:lnTo>
                        <a:pt x="186118" y="0"/>
                      </a:lnTo>
                      <a:lnTo>
                        <a:pt x="126873" y="0"/>
                      </a:lnTo>
                      <a:lnTo>
                        <a:pt x="126873" y="40487"/>
                      </a:lnTo>
                      <a:lnTo>
                        <a:pt x="965" y="40487"/>
                      </a:lnTo>
                      <a:lnTo>
                        <a:pt x="965" y="86906"/>
                      </a:lnTo>
                      <a:lnTo>
                        <a:pt x="116522" y="86906"/>
                      </a:lnTo>
                      <a:lnTo>
                        <a:pt x="36258" y="221932"/>
                      </a:lnTo>
                      <a:lnTo>
                        <a:pt x="30480" y="229666"/>
                      </a:lnTo>
                      <a:lnTo>
                        <a:pt x="24396" y="234873"/>
                      </a:lnTo>
                      <a:lnTo>
                        <a:pt x="17157" y="237807"/>
                      </a:lnTo>
                      <a:lnTo>
                        <a:pt x="7899" y="238721"/>
                      </a:lnTo>
                      <a:lnTo>
                        <a:pt x="0" y="238721"/>
                      </a:lnTo>
                      <a:lnTo>
                        <a:pt x="0" y="280936"/>
                      </a:lnTo>
                      <a:lnTo>
                        <a:pt x="22707" y="280936"/>
                      </a:lnTo>
                      <a:lnTo>
                        <a:pt x="42532" y="280479"/>
                      </a:lnTo>
                      <a:lnTo>
                        <a:pt x="57848" y="277317"/>
                      </a:lnTo>
                      <a:lnTo>
                        <a:pt x="70713" y="268744"/>
                      </a:lnTo>
                      <a:lnTo>
                        <a:pt x="83172" y="252056"/>
                      </a:lnTo>
                      <a:lnTo>
                        <a:pt x="156756" y="129120"/>
                      </a:lnTo>
                      <a:lnTo>
                        <a:pt x="230314" y="252056"/>
                      </a:lnTo>
                      <a:lnTo>
                        <a:pt x="242646" y="268744"/>
                      </a:lnTo>
                      <a:lnTo>
                        <a:pt x="255460" y="277317"/>
                      </a:lnTo>
                      <a:lnTo>
                        <a:pt x="270827" y="280479"/>
                      </a:lnTo>
                      <a:lnTo>
                        <a:pt x="290791" y="280936"/>
                      </a:lnTo>
                      <a:lnTo>
                        <a:pt x="313512" y="280936"/>
                      </a:lnTo>
                      <a:lnTo>
                        <a:pt x="313512" y="238721"/>
                      </a:lnTo>
                      <a:close/>
                    </a:path>
                    <a:path w="675004" h="281304">
                      <a:moveTo>
                        <a:pt x="674928" y="68872"/>
                      </a:moveTo>
                      <a:lnTo>
                        <a:pt x="653173" y="68872"/>
                      </a:lnTo>
                      <a:lnTo>
                        <a:pt x="622833" y="3213"/>
                      </a:lnTo>
                      <a:lnTo>
                        <a:pt x="419658" y="3213"/>
                      </a:lnTo>
                      <a:lnTo>
                        <a:pt x="395960" y="54330"/>
                      </a:lnTo>
                      <a:lnTo>
                        <a:pt x="389064" y="68872"/>
                      </a:lnTo>
                      <a:lnTo>
                        <a:pt x="367347" y="68872"/>
                      </a:lnTo>
                      <a:lnTo>
                        <a:pt x="367347" y="110591"/>
                      </a:lnTo>
                      <a:lnTo>
                        <a:pt x="396963" y="110591"/>
                      </a:lnTo>
                      <a:lnTo>
                        <a:pt x="411289" y="109651"/>
                      </a:lnTo>
                      <a:lnTo>
                        <a:pt x="422592" y="106095"/>
                      </a:lnTo>
                      <a:lnTo>
                        <a:pt x="431622" y="98729"/>
                      </a:lnTo>
                      <a:lnTo>
                        <a:pt x="439153" y="86423"/>
                      </a:lnTo>
                      <a:lnTo>
                        <a:pt x="455942" y="49860"/>
                      </a:lnTo>
                      <a:lnTo>
                        <a:pt x="586295" y="49860"/>
                      </a:lnTo>
                      <a:lnTo>
                        <a:pt x="604558" y="86423"/>
                      </a:lnTo>
                      <a:lnTo>
                        <a:pt x="647255" y="110591"/>
                      </a:lnTo>
                      <a:lnTo>
                        <a:pt x="674928" y="110591"/>
                      </a:lnTo>
                      <a:lnTo>
                        <a:pt x="674928" y="68872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sp>
            <p:nvSpPr>
              <p:cNvPr id="78" name="object 72"/>
              <p:cNvSpPr>
                <a:spLocks noChangeArrowheads="1"/>
              </p:cNvSpPr>
              <p:nvPr userDrawn="1"/>
            </p:nvSpPr>
            <p:spPr bwMode="auto">
              <a:xfrm>
                <a:off x="4174490" y="2959418"/>
                <a:ext cx="582613" cy="581025"/>
              </a:xfrm>
              <a:custGeom>
                <a:avLst/>
                <a:gdLst>
                  <a:gd name="T0" fmla="*/ 198927 w 582295"/>
                  <a:gd name="T1" fmla="*/ 14813 h 582295"/>
                  <a:gd name="T2" fmla="*/ 85145 w 582295"/>
                  <a:gd name="T3" fmla="*/ 85146 h 582295"/>
                  <a:gd name="T4" fmla="*/ 14813 w 582295"/>
                  <a:gd name="T5" fmla="*/ 198932 h 582295"/>
                  <a:gd name="T6" fmla="*/ 3802 w 582295"/>
                  <a:gd name="T7" fmla="*/ 338251 h 582295"/>
                  <a:gd name="T8" fmla="*/ 56080 w 582295"/>
                  <a:gd name="T9" fmla="*/ 462948 h 582295"/>
                  <a:gd name="T10" fmla="*/ 157164 w 582295"/>
                  <a:gd name="T11" fmla="*/ 549546 h 582295"/>
                  <a:gd name="T12" fmla="*/ 290985 w 582295"/>
                  <a:gd name="T13" fmla="*/ 581982 h 582295"/>
                  <a:gd name="T14" fmla="*/ 411521 w 582295"/>
                  <a:gd name="T15" fmla="*/ 555155 h 582295"/>
                  <a:gd name="T16" fmla="*/ 199405 w 582295"/>
                  <a:gd name="T17" fmla="*/ 538489 h 582295"/>
                  <a:gd name="T18" fmla="*/ 89829 w 582295"/>
                  <a:gd name="T19" fmla="*/ 460690 h 582295"/>
                  <a:gd name="T20" fmla="*/ 31911 w 582295"/>
                  <a:gd name="T21" fmla="*/ 338159 h 582295"/>
                  <a:gd name="T22" fmla="*/ 31857 w 582295"/>
                  <a:gd name="T23" fmla="*/ 243496 h 582295"/>
                  <a:gd name="T24" fmla="*/ 94308 w 582295"/>
                  <a:gd name="T25" fmla="*/ 198737 h 582295"/>
                  <a:gd name="T26" fmla="*/ 111360 w 582295"/>
                  <a:gd name="T27" fmla="*/ 98609 h 582295"/>
                  <a:gd name="T28" fmla="*/ 212796 w 582295"/>
                  <a:gd name="T29" fmla="*/ 59746 h 582295"/>
                  <a:gd name="T30" fmla="*/ 246691 w 582295"/>
                  <a:gd name="T31" fmla="*/ 30688 h 582295"/>
                  <a:gd name="T32" fmla="*/ 411516 w 582295"/>
                  <a:gd name="T33" fmla="*/ 26826 h 582295"/>
                  <a:gd name="T34" fmla="*/ 290985 w 582295"/>
                  <a:gd name="T35" fmla="*/ 0 h 582295"/>
                  <a:gd name="T36" fmla="*/ 544916 w 582295"/>
                  <a:gd name="T37" fmla="*/ 220755 h 582295"/>
                  <a:gd name="T38" fmla="*/ 554339 w 582295"/>
                  <a:gd name="T39" fmla="*/ 290996 h 582295"/>
                  <a:gd name="T40" fmla="*/ 518214 w 582295"/>
                  <a:gd name="T41" fmla="*/ 423782 h 582295"/>
                  <a:gd name="T42" fmla="*/ 423567 w 582295"/>
                  <a:gd name="T43" fmla="*/ 518820 h 582295"/>
                  <a:gd name="T44" fmla="*/ 290985 w 582295"/>
                  <a:gd name="T45" fmla="*/ 555155 h 582295"/>
                  <a:gd name="T46" fmla="*/ 496835 w 582295"/>
                  <a:gd name="T47" fmla="*/ 496840 h 582295"/>
                  <a:gd name="T48" fmla="*/ 567168 w 582295"/>
                  <a:gd name="T49" fmla="*/ 383058 h 582295"/>
                  <a:gd name="T50" fmla="*/ 578179 w 582295"/>
                  <a:gd name="T51" fmla="*/ 243740 h 582295"/>
                  <a:gd name="T52" fmla="*/ 94308 w 582295"/>
                  <a:gd name="T53" fmla="*/ 198737 h 582295"/>
                  <a:gd name="T54" fmla="*/ 202800 w 582295"/>
                  <a:gd name="T55" fmla="*/ 516141 h 582295"/>
                  <a:gd name="T56" fmla="*/ 255538 w 582295"/>
                  <a:gd name="T57" fmla="*/ 422269 h 582295"/>
                  <a:gd name="T58" fmla="*/ 94308 w 582295"/>
                  <a:gd name="T59" fmla="*/ 198737 h 582295"/>
                  <a:gd name="T60" fmla="*/ 294242 w 582295"/>
                  <a:gd name="T61" fmla="*/ 349926 h 582295"/>
                  <a:gd name="T62" fmla="*/ 379182 w 582295"/>
                  <a:gd name="T63" fmla="*/ 516141 h 582295"/>
                  <a:gd name="T64" fmla="*/ 373486 w 582295"/>
                  <a:gd name="T65" fmla="*/ 422269 h 582295"/>
                  <a:gd name="T66" fmla="*/ 317403 w 582295"/>
                  <a:gd name="T67" fmla="*/ 298713 h 582295"/>
                  <a:gd name="T68" fmla="*/ 260505 w 582295"/>
                  <a:gd name="T69" fmla="*/ 303592 h 582295"/>
                  <a:gd name="T70" fmla="*/ 255538 w 582295"/>
                  <a:gd name="T71" fmla="*/ 422269 h 582295"/>
                  <a:gd name="T72" fmla="*/ 340279 w 582295"/>
                  <a:gd name="T73" fmla="*/ 346670 h 582295"/>
                  <a:gd name="T74" fmla="*/ 317403 w 582295"/>
                  <a:gd name="T75" fmla="*/ 298713 h 582295"/>
                  <a:gd name="T76" fmla="*/ 445504 w 582295"/>
                  <a:gd name="T77" fmla="*/ 77596 h 582295"/>
                  <a:gd name="T78" fmla="*/ 512487 w 582295"/>
                  <a:gd name="T79" fmla="*/ 148749 h 582295"/>
                  <a:gd name="T80" fmla="*/ 537690 w 582295"/>
                  <a:gd name="T81" fmla="*/ 198737 h 582295"/>
                  <a:gd name="T82" fmla="*/ 525901 w 582295"/>
                  <a:gd name="T83" fmla="*/ 119040 h 582295"/>
                  <a:gd name="T84" fmla="*/ 212796 w 582295"/>
                  <a:gd name="T85" fmla="*/ 59746 h 582295"/>
                  <a:gd name="T86" fmla="*/ 262128 w 582295"/>
                  <a:gd name="T87" fmla="*/ 278399 h 582295"/>
                  <a:gd name="T88" fmla="*/ 319843 w 582295"/>
                  <a:gd name="T89" fmla="*/ 278399 h 582295"/>
                  <a:gd name="T90" fmla="*/ 289362 w 582295"/>
                  <a:gd name="T91" fmla="*/ 231249 h 582295"/>
                  <a:gd name="T92" fmla="*/ 411516 w 582295"/>
                  <a:gd name="T93" fmla="*/ 26826 h 582295"/>
                  <a:gd name="T94" fmla="*/ 335289 w 582295"/>
                  <a:gd name="T95" fmla="*/ 30688 h 582295"/>
                  <a:gd name="T96" fmla="*/ 294242 w 582295"/>
                  <a:gd name="T97" fmla="*/ 228003 h 582295"/>
                  <a:gd name="T98" fmla="*/ 417788 w 582295"/>
                  <a:gd name="T99" fmla="*/ 59746 h 582295"/>
                  <a:gd name="T100" fmla="*/ 424814 w 582295"/>
                  <a:gd name="T101" fmla="*/ 32438 h 582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82295" h="582295">
                    <a:moveTo>
                      <a:pt x="290985" y="0"/>
                    </a:moveTo>
                    <a:lnTo>
                      <a:pt x="243733" y="3802"/>
                    </a:lnTo>
                    <a:lnTo>
                      <a:pt x="198927" y="14813"/>
                    </a:lnTo>
                    <a:lnTo>
                      <a:pt x="157164" y="32438"/>
                    </a:lnTo>
                    <a:lnTo>
                      <a:pt x="119038" y="56080"/>
                    </a:lnTo>
                    <a:lnTo>
                      <a:pt x="85145" y="85146"/>
                    </a:lnTo>
                    <a:lnTo>
                      <a:pt x="56080" y="119040"/>
                    </a:lnTo>
                    <a:lnTo>
                      <a:pt x="32437" y="157167"/>
                    </a:lnTo>
                    <a:lnTo>
                      <a:pt x="14813" y="198932"/>
                    </a:lnTo>
                    <a:lnTo>
                      <a:pt x="3802" y="243740"/>
                    </a:lnTo>
                    <a:lnTo>
                      <a:pt x="0" y="290996"/>
                    </a:lnTo>
                    <a:lnTo>
                      <a:pt x="3802" y="338251"/>
                    </a:lnTo>
                    <a:lnTo>
                      <a:pt x="14813" y="383058"/>
                    </a:lnTo>
                    <a:lnTo>
                      <a:pt x="32437" y="424822"/>
                    </a:lnTo>
                    <a:lnTo>
                      <a:pt x="56080" y="462948"/>
                    </a:lnTo>
                    <a:lnTo>
                      <a:pt x="85145" y="496840"/>
                    </a:lnTo>
                    <a:lnTo>
                      <a:pt x="119038" y="525905"/>
                    </a:lnTo>
                    <a:lnTo>
                      <a:pt x="157164" y="549546"/>
                    </a:lnTo>
                    <a:lnTo>
                      <a:pt x="198927" y="567169"/>
                    </a:lnTo>
                    <a:lnTo>
                      <a:pt x="243733" y="578179"/>
                    </a:lnTo>
                    <a:lnTo>
                      <a:pt x="290985" y="581982"/>
                    </a:lnTo>
                    <a:lnTo>
                      <a:pt x="338241" y="578179"/>
                    </a:lnTo>
                    <a:lnTo>
                      <a:pt x="383049" y="567169"/>
                    </a:lnTo>
                    <a:lnTo>
                      <a:pt x="411521" y="555155"/>
                    </a:lnTo>
                    <a:lnTo>
                      <a:pt x="290985" y="555155"/>
                    </a:lnTo>
                    <a:lnTo>
                      <a:pt x="243850" y="550859"/>
                    </a:lnTo>
                    <a:lnTo>
                      <a:pt x="199405" y="538489"/>
                    </a:lnTo>
                    <a:lnTo>
                      <a:pt x="158411" y="518820"/>
                    </a:lnTo>
                    <a:lnTo>
                      <a:pt x="121631" y="492628"/>
                    </a:lnTo>
                    <a:lnTo>
                      <a:pt x="89829" y="460690"/>
                    </a:lnTo>
                    <a:lnTo>
                      <a:pt x="63766" y="423782"/>
                    </a:lnTo>
                    <a:lnTo>
                      <a:pt x="44206" y="382680"/>
                    </a:lnTo>
                    <a:lnTo>
                      <a:pt x="31911" y="338159"/>
                    </a:lnTo>
                    <a:lnTo>
                      <a:pt x="27643" y="290996"/>
                    </a:lnTo>
                    <a:lnTo>
                      <a:pt x="28702" y="266922"/>
                    </a:lnTo>
                    <a:lnTo>
                      <a:pt x="31857" y="243496"/>
                    </a:lnTo>
                    <a:lnTo>
                      <a:pt x="37069" y="220755"/>
                    </a:lnTo>
                    <a:lnTo>
                      <a:pt x="44302" y="198737"/>
                    </a:lnTo>
                    <a:lnTo>
                      <a:pt x="94308" y="198737"/>
                    </a:lnTo>
                    <a:lnTo>
                      <a:pt x="69505" y="148749"/>
                    </a:lnTo>
                    <a:lnTo>
                      <a:pt x="88986" y="122441"/>
                    </a:lnTo>
                    <a:lnTo>
                      <a:pt x="111360" y="98609"/>
                    </a:lnTo>
                    <a:lnTo>
                      <a:pt x="136479" y="77596"/>
                    </a:lnTo>
                    <a:lnTo>
                      <a:pt x="164193" y="59746"/>
                    </a:lnTo>
                    <a:lnTo>
                      <a:pt x="212796" y="59746"/>
                    </a:lnTo>
                    <a:lnTo>
                      <a:pt x="204831" y="41862"/>
                    </a:lnTo>
                    <a:lnTo>
                      <a:pt x="225381" y="35400"/>
                    </a:lnTo>
                    <a:lnTo>
                      <a:pt x="246691" y="30688"/>
                    </a:lnTo>
                    <a:lnTo>
                      <a:pt x="268609" y="27804"/>
                    </a:lnTo>
                    <a:lnTo>
                      <a:pt x="290985" y="26826"/>
                    </a:lnTo>
                    <a:lnTo>
                      <a:pt x="411516" y="26826"/>
                    </a:lnTo>
                    <a:lnTo>
                      <a:pt x="383049" y="14813"/>
                    </a:lnTo>
                    <a:lnTo>
                      <a:pt x="338241" y="3802"/>
                    </a:lnTo>
                    <a:lnTo>
                      <a:pt x="290985" y="0"/>
                    </a:lnTo>
                    <a:close/>
                  </a:path>
                  <a:path w="582295" h="582295">
                    <a:moveTo>
                      <a:pt x="567086" y="198737"/>
                    </a:moveTo>
                    <a:lnTo>
                      <a:pt x="537690" y="198737"/>
                    </a:lnTo>
                    <a:lnTo>
                      <a:pt x="544916" y="220755"/>
                    </a:lnTo>
                    <a:lnTo>
                      <a:pt x="550125" y="243496"/>
                    </a:lnTo>
                    <a:lnTo>
                      <a:pt x="553279" y="266922"/>
                    </a:lnTo>
                    <a:lnTo>
                      <a:pt x="554339" y="290996"/>
                    </a:lnTo>
                    <a:lnTo>
                      <a:pt x="550071" y="338159"/>
                    </a:lnTo>
                    <a:lnTo>
                      <a:pt x="537775" y="382680"/>
                    </a:lnTo>
                    <a:lnTo>
                      <a:pt x="518214" y="423782"/>
                    </a:lnTo>
                    <a:lnTo>
                      <a:pt x="492151" y="460690"/>
                    </a:lnTo>
                    <a:lnTo>
                      <a:pt x="460348" y="492628"/>
                    </a:lnTo>
                    <a:lnTo>
                      <a:pt x="423567" y="518820"/>
                    </a:lnTo>
                    <a:lnTo>
                      <a:pt x="382572" y="538489"/>
                    </a:lnTo>
                    <a:lnTo>
                      <a:pt x="338124" y="550859"/>
                    </a:lnTo>
                    <a:lnTo>
                      <a:pt x="290985" y="555155"/>
                    </a:lnTo>
                    <a:lnTo>
                      <a:pt x="411521" y="555155"/>
                    </a:lnTo>
                    <a:lnTo>
                      <a:pt x="462941" y="525905"/>
                    </a:lnTo>
                    <a:lnTo>
                      <a:pt x="496835" y="496840"/>
                    </a:lnTo>
                    <a:lnTo>
                      <a:pt x="525901" y="462948"/>
                    </a:lnTo>
                    <a:lnTo>
                      <a:pt x="549544" y="424822"/>
                    </a:lnTo>
                    <a:lnTo>
                      <a:pt x="567168" y="383058"/>
                    </a:lnTo>
                    <a:lnTo>
                      <a:pt x="578179" y="338251"/>
                    </a:lnTo>
                    <a:lnTo>
                      <a:pt x="581982" y="290996"/>
                    </a:lnTo>
                    <a:lnTo>
                      <a:pt x="578179" y="243740"/>
                    </a:lnTo>
                    <a:lnTo>
                      <a:pt x="567168" y="198932"/>
                    </a:lnTo>
                    <a:lnTo>
                      <a:pt x="567086" y="198737"/>
                    </a:lnTo>
                    <a:close/>
                  </a:path>
                  <a:path w="582295" h="582295">
                    <a:moveTo>
                      <a:pt x="94308" y="198737"/>
                    </a:moveTo>
                    <a:lnTo>
                      <a:pt x="44302" y="198737"/>
                    </a:lnTo>
                    <a:lnTo>
                      <a:pt x="200360" y="512916"/>
                    </a:lnTo>
                    <a:lnTo>
                      <a:pt x="202800" y="516141"/>
                    </a:lnTo>
                    <a:lnTo>
                      <a:pt x="212558" y="516141"/>
                    </a:lnTo>
                    <a:lnTo>
                      <a:pt x="215239" y="512832"/>
                    </a:lnTo>
                    <a:lnTo>
                      <a:pt x="255538" y="422269"/>
                    </a:lnTo>
                    <a:lnTo>
                      <a:pt x="205239" y="422269"/>
                    </a:lnTo>
                    <a:lnTo>
                      <a:pt x="203606" y="419013"/>
                    </a:lnTo>
                    <a:lnTo>
                      <a:pt x="94308" y="198737"/>
                    </a:lnTo>
                    <a:close/>
                  </a:path>
                  <a:path w="582295" h="582295">
                    <a:moveTo>
                      <a:pt x="340279" y="346670"/>
                    </a:moveTo>
                    <a:lnTo>
                      <a:pt x="292608" y="346670"/>
                    </a:lnTo>
                    <a:lnTo>
                      <a:pt x="294242" y="349926"/>
                    </a:lnTo>
                    <a:lnTo>
                      <a:pt x="366742" y="512832"/>
                    </a:lnTo>
                    <a:lnTo>
                      <a:pt x="369423" y="516141"/>
                    </a:lnTo>
                    <a:lnTo>
                      <a:pt x="379182" y="516141"/>
                    </a:lnTo>
                    <a:lnTo>
                      <a:pt x="381613" y="512916"/>
                    </a:lnTo>
                    <a:lnTo>
                      <a:pt x="426646" y="422269"/>
                    </a:lnTo>
                    <a:lnTo>
                      <a:pt x="373486" y="422269"/>
                    </a:lnTo>
                    <a:lnTo>
                      <a:pt x="371873" y="419013"/>
                    </a:lnTo>
                    <a:lnTo>
                      <a:pt x="340279" y="346670"/>
                    </a:lnTo>
                    <a:close/>
                  </a:path>
                  <a:path w="582295" h="582295">
                    <a:moveTo>
                      <a:pt x="317403" y="298713"/>
                    </a:moveTo>
                    <a:lnTo>
                      <a:pt x="264578" y="298713"/>
                    </a:lnTo>
                    <a:lnTo>
                      <a:pt x="262128" y="299530"/>
                    </a:lnTo>
                    <a:lnTo>
                      <a:pt x="260505" y="303592"/>
                    </a:lnTo>
                    <a:lnTo>
                      <a:pt x="210108" y="419013"/>
                    </a:lnTo>
                    <a:lnTo>
                      <a:pt x="208485" y="422269"/>
                    </a:lnTo>
                    <a:lnTo>
                      <a:pt x="255538" y="422269"/>
                    </a:lnTo>
                    <a:lnTo>
                      <a:pt x="287729" y="349926"/>
                    </a:lnTo>
                    <a:lnTo>
                      <a:pt x="289362" y="346670"/>
                    </a:lnTo>
                    <a:lnTo>
                      <a:pt x="340279" y="346670"/>
                    </a:lnTo>
                    <a:lnTo>
                      <a:pt x="321466" y="303592"/>
                    </a:lnTo>
                    <a:lnTo>
                      <a:pt x="319843" y="299530"/>
                    </a:lnTo>
                    <a:lnTo>
                      <a:pt x="317403" y="298713"/>
                    </a:lnTo>
                    <a:close/>
                  </a:path>
                  <a:path w="582295" h="582295">
                    <a:moveTo>
                      <a:pt x="467216" y="59746"/>
                    </a:moveTo>
                    <a:lnTo>
                      <a:pt x="417788" y="59746"/>
                    </a:lnTo>
                    <a:lnTo>
                      <a:pt x="445504" y="77596"/>
                    </a:lnTo>
                    <a:lnTo>
                      <a:pt x="470627" y="98609"/>
                    </a:lnTo>
                    <a:lnTo>
                      <a:pt x="493004" y="122441"/>
                    </a:lnTo>
                    <a:lnTo>
                      <a:pt x="512487" y="148749"/>
                    </a:lnTo>
                    <a:lnTo>
                      <a:pt x="376742" y="422269"/>
                    </a:lnTo>
                    <a:lnTo>
                      <a:pt x="426646" y="422269"/>
                    </a:lnTo>
                    <a:lnTo>
                      <a:pt x="537690" y="198737"/>
                    </a:lnTo>
                    <a:lnTo>
                      <a:pt x="567086" y="198737"/>
                    </a:lnTo>
                    <a:lnTo>
                      <a:pt x="549544" y="157167"/>
                    </a:lnTo>
                    <a:lnTo>
                      <a:pt x="525901" y="119040"/>
                    </a:lnTo>
                    <a:lnTo>
                      <a:pt x="496835" y="85146"/>
                    </a:lnTo>
                    <a:lnTo>
                      <a:pt x="467216" y="59746"/>
                    </a:lnTo>
                    <a:close/>
                  </a:path>
                  <a:path w="582295" h="582295">
                    <a:moveTo>
                      <a:pt x="212796" y="59746"/>
                    </a:moveTo>
                    <a:lnTo>
                      <a:pt x="164193" y="59746"/>
                    </a:lnTo>
                    <a:lnTo>
                      <a:pt x="260505" y="274337"/>
                    </a:lnTo>
                    <a:lnTo>
                      <a:pt x="262128" y="278399"/>
                    </a:lnTo>
                    <a:lnTo>
                      <a:pt x="264578" y="279206"/>
                    </a:lnTo>
                    <a:lnTo>
                      <a:pt x="317403" y="279206"/>
                    </a:lnTo>
                    <a:lnTo>
                      <a:pt x="319843" y="278399"/>
                    </a:lnTo>
                    <a:lnTo>
                      <a:pt x="321466" y="274337"/>
                    </a:lnTo>
                    <a:lnTo>
                      <a:pt x="340807" y="231249"/>
                    </a:lnTo>
                    <a:lnTo>
                      <a:pt x="289362" y="231249"/>
                    </a:lnTo>
                    <a:lnTo>
                      <a:pt x="287729" y="228003"/>
                    </a:lnTo>
                    <a:lnTo>
                      <a:pt x="212796" y="59746"/>
                    </a:lnTo>
                    <a:close/>
                  </a:path>
                  <a:path w="582295" h="582295">
                    <a:moveTo>
                      <a:pt x="411516" y="26826"/>
                    </a:moveTo>
                    <a:lnTo>
                      <a:pt x="290985" y="26826"/>
                    </a:lnTo>
                    <a:lnTo>
                      <a:pt x="313367" y="27804"/>
                    </a:lnTo>
                    <a:lnTo>
                      <a:pt x="335289" y="30688"/>
                    </a:lnTo>
                    <a:lnTo>
                      <a:pt x="356600" y="35400"/>
                    </a:lnTo>
                    <a:lnTo>
                      <a:pt x="377150" y="41862"/>
                    </a:lnTo>
                    <a:lnTo>
                      <a:pt x="294242" y="228003"/>
                    </a:lnTo>
                    <a:lnTo>
                      <a:pt x="292608" y="231249"/>
                    </a:lnTo>
                    <a:lnTo>
                      <a:pt x="340807" y="231249"/>
                    </a:lnTo>
                    <a:lnTo>
                      <a:pt x="417788" y="59746"/>
                    </a:lnTo>
                    <a:lnTo>
                      <a:pt x="467216" y="59746"/>
                    </a:lnTo>
                    <a:lnTo>
                      <a:pt x="462941" y="56080"/>
                    </a:lnTo>
                    <a:lnTo>
                      <a:pt x="424814" y="32438"/>
                    </a:lnTo>
                    <a:lnTo>
                      <a:pt x="411516" y="26826"/>
                    </a:lnTo>
                    <a:close/>
                  </a:path>
                </a:pathLst>
              </a:custGeom>
              <a:solidFill>
                <a:srgbClr val="1F2F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79" name="object 73"/>
              <p:cNvGrpSpPr/>
              <p:nvPr userDrawn="1"/>
            </p:nvGrpSpPr>
            <p:grpSpPr bwMode="auto">
              <a:xfrm>
                <a:off x="3252153" y="2976880"/>
                <a:ext cx="814387" cy="542925"/>
                <a:chOff x="9663221" y="6807394"/>
                <a:chExt cx="814705" cy="542925"/>
              </a:xfrm>
            </p:grpSpPr>
            <p:sp>
              <p:nvSpPr>
                <p:cNvPr id="80" name="object 74"/>
                <p:cNvSpPr>
                  <a:spLocks noChangeArrowheads="1"/>
                </p:cNvSpPr>
                <p:nvPr/>
              </p:nvSpPr>
              <p:spPr bwMode="auto">
                <a:xfrm>
                  <a:off x="9663221" y="6807394"/>
                  <a:ext cx="814705" cy="542925"/>
                </a:xfrm>
                <a:custGeom>
                  <a:avLst/>
                  <a:gdLst>
                    <a:gd name="T0" fmla="*/ 351965 w 814704"/>
                    <a:gd name="T1" fmla="*/ 2478 h 542925"/>
                    <a:gd name="T2" fmla="*/ 248713 w 814704"/>
                    <a:gd name="T3" fmla="*/ 21332 h 542925"/>
                    <a:gd name="T4" fmla="*/ 158380 w 814704"/>
                    <a:gd name="T5" fmla="*/ 56560 h 542925"/>
                    <a:gd name="T6" fmla="*/ 84849 w 814704"/>
                    <a:gd name="T7" fmla="*/ 105575 h 542925"/>
                    <a:gd name="T8" fmla="*/ 32001 w 814704"/>
                    <a:gd name="T9" fmla="*/ 165789 h 542925"/>
                    <a:gd name="T10" fmla="*/ 0 w 814704"/>
                    <a:gd name="T11" fmla="*/ 271447 h 542925"/>
                    <a:gd name="T12" fmla="*/ 32001 w 814704"/>
                    <a:gd name="T13" fmla="*/ 377110 h 542925"/>
                    <a:gd name="T14" fmla="*/ 84849 w 814704"/>
                    <a:gd name="T15" fmla="*/ 437327 h 542925"/>
                    <a:gd name="T16" fmla="*/ 158380 w 814704"/>
                    <a:gd name="T17" fmla="*/ 486343 h 542925"/>
                    <a:gd name="T18" fmla="*/ 248713 w 814704"/>
                    <a:gd name="T19" fmla="*/ 521572 h 542925"/>
                    <a:gd name="T20" fmla="*/ 351965 w 814704"/>
                    <a:gd name="T21" fmla="*/ 540426 h 542925"/>
                    <a:gd name="T22" fmla="*/ 462481 w 814704"/>
                    <a:gd name="T23" fmla="*/ 540426 h 542925"/>
                    <a:gd name="T24" fmla="*/ 565733 w 814704"/>
                    <a:gd name="T25" fmla="*/ 521572 h 542925"/>
                    <a:gd name="T26" fmla="*/ 407223 w 814704"/>
                    <a:gd name="T27" fmla="*/ 514392 h 542925"/>
                    <a:gd name="T28" fmla="*/ 307050 w 814704"/>
                    <a:gd name="T29" fmla="*/ 505743 h 542925"/>
                    <a:gd name="T30" fmla="*/ 215191 w 814704"/>
                    <a:gd name="T31" fmla="*/ 480519 h 542925"/>
                    <a:gd name="T32" fmla="*/ 135597 w 814704"/>
                    <a:gd name="T33" fmla="*/ 439808 h 542925"/>
                    <a:gd name="T34" fmla="*/ 56561 w 814704"/>
                    <a:gd name="T35" fmla="*/ 361992 h 542925"/>
                    <a:gd name="T36" fmla="*/ 29056 w 814704"/>
                    <a:gd name="T37" fmla="*/ 271447 h 542925"/>
                    <a:gd name="T38" fmla="*/ 56561 w 814704"/>
                    <a:gd name="T39" fmla="*/ 180910 h 542925"/>
                    <a:gd name="T40" fmla="*/ 135597 w 814704"/>
                    <a:gd name="T41" fmla="*/ 103096 h 542925"/>
                    <a:gd name="T42" fmla="*/ 215191 w 814704"/>
                    <a:gd name="T43" fmla="*/ 62385 h 542925"/>
                    <a:gd name="T44" fmla="*/ 307050 w 814704"/>
                    <a:gd name="T45" fmla="*/ 37161 h 542925"/>
                    <a:gd name="T46" fmla="*/ 407223 w 814704"/>
                    <a:gd name="T47" fmla="*/ 28512 h 542925"/>
                    <a:gd name="T48" fmla="*/ 565733 w 814704"/>
                    <a:gd name="T49" fmla="*/ 21332 h 542925"/>
                    <a:gd name="T50" fmla="*/ 462481 w 814704"/>
                    <a:gd name="T51" fmla="*/ 2478 h 542925"/>
                    <a:gd name="T52" fmla="*/ 587198 w 814704"/>
                    <a:gd name="T53" fmla="*/ 28512 h 542925"/>
                    <a:gd name="T54" fmla="*/ 458101 w 814704"/>
                    <a:gd name="T55" fmla="*/ 30697 h 542925"/>
                    <a:gd name="T56" fmla="*/ 554611 w 814704"/>
                    <a:gd name="T57" fmla="*/ 47769 h 542925"/>
                    <a:gd name="T58" fmla="*/ 640831 w 814704"/>
                    <a:gd name="T59" fmla="*/ 80872 h 542925"/>
                    <a:gd name="T60" fmla="*/ 724482 w 814704"/>
                    <a:gd name="T61" fmla="*/ 139896 h 542925"/>
                    <a:gd name="T62" fmla="*/ 778404 w 814704"/>
                    <a:gd name="T63" fmla="*/ 225105 h 542925"/>
                    <a:gd name="T64" fmla="*/ 778404 w 814704"/>
                    <a:gd name="T65" fmla="*/ 317795 h 542925"/>
                    <a:gd name="T66" fmla="*/ 724482 w 814704"/>
                    <a:gd name="T67" fmla="*/ 403007 h 542925"/>
                    <a:gd name="T68" fmla="*/ 640831 w 814704"/>
                    <a:gd name="T69" fmla="*/ 462032 h 542925"/>
                    <a:gd name="T70" fmla="*/ 554611 w 814704"/>
                    <a:gd name="T71" fmla="*/ 495135 h 542925"/>
                    <a:gd name="T72" fmla="*/ 458101 w 814704"/>
                    <a:gd name="T73" fmla="*/ 512207 h 542925"/>
                    <a:gd name="T74" fmla="*/ 587197 w 814704"/>
                    <a:gd name="T75" fmla="*/ 514392 h 542925"/>
                    <a:gd name="T76" fmla="*/ 695173 w 814704"/>
                    <a:gd name="T77" fmla="*/ 463396 h 542925"/>
                    <a:gd name="T78" fmla="*/ 758848 w 814704"/>
                    <a:gd name="T79" fmla="*/ 408457 h 542925"/>
                    <a:gd name="T80" fmla="*/ 810728 w 814704"/>
                    <a:gd name="T81" fmla="*/ 308282 h 542925"/>
                    <a:gd name="T82" fmla="*/ 810728 w 814704"/>
                    <a:gd name="T83" fmla="*/ 234614 h 542925"/>
                    <a:gd name="T84" fmla="*/ 758848 w 814704"/>
                    <a:gd name="T85" fmla="*/ 134444 h 542925"/>
                    <a:gd name="T86" fmla="*/ 695173 w 814704"/>
                    <a:gd name="T87" fmla="*/ 79506 h 542925"/>
                    <a:gd name="T88" fmla="*/ 612756 w 814704"/>
                    <a:gd name="T89" fmla="*/ 37061 h 542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14704" h="542925">
                      <a:moveTo>
                        <a:pt x="407223" y="0"/>
                      </a:moveTo>
                      <a:lnTo>
                        <a:pt x="351965" y="2478"/>
                      </a:lnTo>
                      <a:lnTo>
                        <a:pt x="298966" y="9696"/>
                      </a:lnTo>
                      <a:lnTo>
                        <a:pt x="248713" y="21332"/>
                      </a:lnTo>
                      <a:lnTo>
                        <a:pt x="201689" y="37061"/>
                      </a:lnTo>
                      <a:lnTo>
                        <a:pt x="158380" y="56560"/>
                      </a:lnTo>
                      <a:lnTo>
                        <a:pt x="119272" y="79506"/>
                      </a:lnTo>
                      <a:lnTo>
                        <a:pt x="84849" y="105575"/>
                      </a:lnTo>
                      <a:lnTo>
                        <a:pt x="55597" y="134444"/>
                      </a:lnTo>
                      <a:lnTo>
                        <a:pt x="32001" y="165789"/>
                      </a:lnTo>
                      <a:lnTo>
                        <a:pt x="3717" y="234614"/>
                      </a:lnTo>
                      <a:lnTo>
                        <a:pt x="0" y="271447"/>
                      </a:lnTo>
                      <a:lnTo>
                        <a:pt x="3717" y="308282"/>
                      </a:lnTo>
                      <a:lnTo>
                        <a:pt x="32001" y="377110"/>
                      </a:lnTo>
                      <a:lnTo>
                        <a:pt x="55597" y="408457"/>
                      </a:lnTo>
                      <a:lnTo>
                        <a:pt x="84849" y="437327"/>
                      </a:lnTo>
                      <a:lnTo>
                        <a:pt x="119272" y="463396"/>
                      </a:lnTo>
                      <a:lnTo>
                        <a:pt x="158380" y="486343"/>
                      </a:lnTo>
                      <a:lnTo>
                        <a:pt x="201689" y="505843"/>
                      </a:lnTo>
                      <a:lnTo>
                        <a:pt x="248713" y="521572"/>
                      </a:lnTo>
                      <a:lnTo>
                        <a:pt x="298966" y="533208"/>
                      </a:lnTo>
                      <a:lnTo>
                        <a:pt x="351965" y="540426"/>
                      </a:lnTo>
                      <a:lnTo>
                        <a:pt x="407223" y="542904"/>
                      </a:lnTo>
                      <a:lnTo>
                        <a:pt x="462481" y="540426"/>
                      </a:lnTo>
                      <a:lnTo>
                        <a:pt x="515479" y="533208"/>
                      </a:lnTo>
                      <a:lnTo>
                        <a:pt x="565733" y="521572"/>
                      </a:lnTo>
                      <a:lnTo>
                        <a:pt x="587197" y="514392"/>
                      </a:lnTo>
                      <a:lnTo>
                        <a:pt x="407223" y="514392"/>
                      </a:lnTo>
                      <a:lnTo>
                        <a:pt x="356344" y="512207"/>
                      </a:lnTo>
                      <a:lnTo>
                        <a:pt x="307050" y="505743"/>
                      </a:lnTo>
                      <a:lnTo>
                        <a:pt x="259835" y="495135"/>
                      </a:lnTo>
                      <a:lnTo>
                        <a:pt x="215191" y="480519"/>
                      </a:lnTo>
                      <a:lnTo>
                        <a:pt x="173614" y="462032"/>
                      </a:lnTo>
                      <a:lnTo>
                        <a:pt x="135597" y="439808"/>
                      </a:lnTo>
                      <a:lnTo>
                        <a:pt x="89963" y="403007"/>
                      </a:lnTo>
                      <a:lnTo>
                        <a:pt x="56561" y="361992"/>
                      </a:lnTo>
                      <a:lnTo>
                        <a:pt x="36041" y="317795"/>
                      </a:lnTo>
                      <a:lnTo>
                        <a:pt x="29056" y="271447"/>
                      </a:lnTo>
                      <a:lnTo>
                        <a:pt x="36041" y="225105"/>
                      </a:lnTo>
                      <a:lnTo>
                        <a:pt x="56561" y="180910"/>
                      </a:lnTo>
                      <a:lnTo>
                        <a:pt x="89963" y="139896"/>
                      </a:lnTo>
                      <a:lnTo>
                        <a:pt x="135597" y="103096"/>
                      </a:lnTo>
                      <a:lnTo>
                        <a:pt x="173614" y="80872"/>
                      </a:lnTo>
                      <a:lnTo>
                        <a:pt x="215191" y="62385"/>
                      </a:lnTo>
                      <a:lnTo>
                        <a:pt x="259835" y="47769"/>
                      </a:lnTo>
                      <a:lnTo>
                        <a:pt x="307050" y="37161"/>
                      </a:lnTo>
                      <a:lnTo>
                        <a:pt x="356344" y="30697"/>
                      </a:lnTo>
                      <a:lnTo>
                        <a:pt x="407223" y="28512"/>
                      </a:lnTo>
                      <a:lnTo>
                        <a:pt x="587198" y="28512"/>
                      </a:lnTo>
                      <a:lnTo>
                        <a:pt x="565733" y="21332"/>
                      </a:lnTo>
                      <a:lnTo>
                        <a:pt x="515479" y="9696"/>
                      </a:lnTo>
                      <a:lnTo>
                        <a:pt x="462481" y="2478"/>
                      </a:lnTo>
                      <a:lnTo>
                        <a:pt x="407223" y="0"/>
                      </a:lnTo>
                      <a:close/>
                    </a:path>
                    <a:path w="814704" h="542925">
                      <a:moveTo>
                        <a:pt x="587198" y="28512"/>
                      </a:moveTo>
                      <a:lnTo>
                        <a:pt x="407223" y="28512"/>
                      </a:lnTo>
                      <a:lnTo>
                        <a:pt x="458101" y="30697"/>
                      </a:lnTo>
                      <a:lnTo>
                        <a:pt x="507395" y="37161"/>
                      </a:lnTo>
                      <a:lnTo>
                        <a:pt x="554611" y="47769"/>
                      </a:lnTo>
                      <a:lnTo>
                        <a:pt x="599254" y="62385"/>
                      </a:lnTo>
                      <a:lnTo>
                        <a:pt x="640831" y="80872"/>
                      </a:lnTo>
                      <a:lnTo>
                        <a:pt x="678848" y="103096"/>
                      </a:lnTo>
                      <a:lnTo>
                        <a:pt x="724482" y="139896"/>
                      </a:lnTo>
                      <a:lnTo>
                        <a:pt x="757885" y="180910"/>
                      </a:lnTo>
                      <a:lnTo>
                        <a:pt x="778404" y="225105"/>
                      </a:lnTo>
                      <a:lnTo>
                        <a:pt x="785389" y="271447"/>
                      </a:lnTo>
                      <a:lnTo>
                        <a:pt x="778404" y="317795"/>
                      </a:lnTo>
                      <a:lnTo>
                        <a:pt x="757885" y="361992"/>
                      </a:lnTo>
                      <a:lnTo>
                        <a:pt x="724482" y="403007"/>
                      </a:lnTo>
                      <a:lnTo>
                        <a:pt x="678848" y="439808"/>
                      </a:lnTo>
                      <a:lnTo>
                        <a:pt x="640831" y="462032"/>
                      </a:lnTo>
                      <a:lnTo>
                        <a:pt x="599254" y="480519"/>
                      </a:lnTo>
                      <a:lnTo>
                        <a:pt x="554611" y="495135"/>
                      </a:lnTo>
                      <a:lnTo>
                        <a:pt x="507395" y="505743"/>
                      </a:lnTo>
                      <a:lnTo>
                        <a:pt x="458101" y="512207"/>
                      </a:lnTo>
                      <a:lnTo>
                        <a:pt x="407223" y="514392"/>
                      </a:lnTo>
                      <a:lnTo>
                        <a:pt x="587197" y="514392"/>
                      </a:lnTo>
                      <a:lnTo>
                        <a:pt x="656065" y="486343"/>
                      </a:lnTo>
                      <a:lnTo>
                        <a:pt x="695173" y="463396"/>
                      </a:lnTo>
                      <a:lnTo>
                        <a:pt x="729596" y="437327"/>
                      </a:lnTo>
                      <a:lnTo>
                        <a:pt x="758848" y="408457"/>
                      </a:lnTo>
                      <a:lnTo>
                        <a:pt x="782444" y="377110"/>
                      </a:lnTo>
                      <a:lnTo>
                        <a:pt x="810728" y="308282"/>
                      </a:lnTo>
                      <a:lnTo>
                        <a:pt x="814446" y="271447"/>
                      </a:lnTo>
                      <a:lnTo>
                        <a:pt x="810728" y="234614"/>
                      </a:lnTo>
                      <a:lnTo>
                        <a:pt x="782444" y="165789"/>
                      </a:lnTo>
                      <a:lnTo>
                        <a:pt x="758848" y="134444"/>
                      </a:lnTo>
                      <a:lnTo>
                        <a:pt x="729596" y="105575"/>
                      </a:lnTo>
                      <a:lnTo>
                        <a:pt x="695173" y="79506"/>
                      </a:lnTo>
                      <a:lnTo>
                        <a:pt x="656065" y="56560"/>
                      </a:lnTo>
                      <a:lnTo>
                        <a:pt x="612756" y="37061"/>
                      </a:lnTo>
                      <a:lnTo>
                        <a:pt x="587198" y="28512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81" name="object 75"/>
                <p:cNvPicPr>
                  <a:picLocks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24181" y="7130950"/>
                  <a:ext cx="178601" cy="710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object 76"/>
                <p:cNvSpPr>
                  <a:spLocks noChangeArrowheads="1"/>
                </p:cNvSpPr>
                <p:nvPr/>
              </p:nvSpPr>
              <p:spPr bwMode="auto">
                <a:xfrm>
                  <a:off x="9754171" y="6885209"/>
                  <a:ext cx="633095" cy="387350"/>
                </a:xfrm>
                <a:custGeom>
                  <a:avLst/>
                  <a:gdLst>
                    <a:gd name="T0" fmla="*/ 248602 w 633095"/>
                    <a:gd name="T1" fmla="*/ 180149 h 387350"/>
                    <a:gd name="T2" fmla="*/ 32524 w 633095"/>
                    <a:gd name="T3" fmla="*/ 180149 h 387350"/>
                    <a:gd name="T4" fmla="*/ 43903 w 633095"/>
                    <a:gd name="T5" fmla="*/ 207721 h 387350"/>
                    <a:gd name="T6" fmla="*/ 48602 w 633095"/>
                    <a:gd name="T7" fmla="*/ 215074 h 387350"/>
                    <a:gd name="T8" fmla="*/ 55219 w 633095"/>
                    <a:gd name="T9" fmla="*/ 220726 h 387350"/>
                    <a:gd name="T10" fmla="*/ 63207 w 633095"/>
                    <a:gd name="T11" fmla="*/ 224358 h 387350"/>
                    <a:gd name="T12" fmla="*/ 71945 w 633095"/>
                    <a:gd name="T13" fmla="*/ 225640 h 387350"/>
                    <a:gd name="T14" fmla="*/ 248602 w 633095"/>
                    <a:gd name="T15" fmla="*/ 225640 h 387350"/>
                    <a:gd name="T16" fmla="*/ 248602 w 633095"/>
                    <a:gd name="T17" fmla="*/ 180149 h 387350"/>
                    <a:gd name="T18" fmla="*/ 248602 w 633095"/>
                    <a:gd name="T19" fmla="*/ 100914 h 387350"/>
                    <a:gd name="T20" fmla="*/ 0 w 633095"/>
                    <a:gd name="T21" fmla="*/ 100914 h 387350"/>
                    <a:gd name="T22" fmla="*/ 11379 w 633095"/>
                    <a:gd name="T23" fmla="*/ 128473 h 387350"/>
                    <a:gd name="T24" fmla="*/ 16078 w 633095"/>
                    <a:gd name="T25" fmla="*/ 135839 h 387350"/>
                    <a:gd name="T26" fmla="*/ 22694 w 633095"/>
                    <a:gd name="T27" fmla="*/ 141490 h 387350"/>
                    <a:gd name="T28" fmla="*/ 30670 w 633095"/>
                    <a:gd name="T29" fmla="*/ 145135 h 387350"/>
                    <a:gd name="T30" fmla="*/ 39408 w 633095"/>
                    <a:gd name="T31" fmla="*/ 146418 h 387350"/>
                    <a:gd name="T32" fmla="*/ 248602 w 633095"/>
                    <a:gd name="T33" fmla="*/ 146418 h 387350"/>
                    <a:gd name="T34" fmla="*/ 248602 w 633095"/>
                    <a:gd name="T35" fmla="*/ 100914 h 387350"/>
                    <a:gd name="T36" fmla="*/ 383908 w 633095"/>
                    <a:gd name="T37" fmla="*/ 343484 h 387350"/>
                    <a:gd name="T38" fmla="*/ 353504 w 633095"/>
                    <a:gd name="T39" fmla="*/ 343484 h 387350"/>
                    <a:gd name="T40" fmla="*/ 348869 w 633095"/>
                    <a:gd name="T41" fmla="*/ 338924 h 387350"/>
                    <a:gd name="T42" fmla="*/ 348869 w 633095"/>
                    <a:gd name="T43" fmla="*/ 0 h 387350"/>
                    <a:gd name="T44" fmla="*/ 323748 w 633095"/>
                    <a:gd name="T45" fmla="*/ 0 h 387350"/>
                    <a:gd name="T46" fmla="*/ 262750 w 633095"/>
                    <a:gd name="T47" fmla="*/ 25336 h 387350"/>
                    <a:gd name="T48" fmla="*/ 254584 w 633095"/>
                    <a:gd name="T49" fmla="*/ 28219 h 387350"/>
                    <a:gd name="T50" fmla="*/ 254584 w 633095"/>
                    <a:gd name="T51" fmla="*/ 56146 h 387350"/>
                    <a:gd name="T52" fmla="*/ 279349 w 633095"/>
                    <a:gd name="T53" fmla="*/ 56146 h 387350"/>
                    <a:gd name="T54" fmla="*/ 283641 w 633095"/>
                    <a:gd name="T55" fmla="*/ 60350 h 387350"/>
                    <a:gd name="T56" fmla="*/ 283641 w 633095"/>
                    <a:gd name="T57" fmla="*/ 338924 h 387350"/>
                    <a:gd name="T58" fmla="*/ 279006 w 633095"/>
                    <a:gd name="T59" fmla="*/ 343484 h 387350"/>
                    <a:gd name="T60" fmla="*/ 248602 w 633095"/>
                    <a:gd name="T61" fmla="*/ 343484 h 387350"/>
                    <a:gd name="T62" fmla="*/ 248602 w 633095"/>
                    <a:gd name="T63" fmla="*/ 387286 h 387350"/>
                    <a:gd name="T64" fmla="*/ 383908 w 633095"/>
                    <a:gd name="T65" fmla="*/ 387286 h 387350"/>
                    <a:gd name="T66" fmla="*/ 383908 w 633095"/>
                    <a:gd name="T67" fmla="*/ 343484 h 387350"/>
                    <a:gd name="T68" fmla="*/ 599986 w 633095"/>
                    <a:gd name="T69" fmla="*/ 180149 h 387350"/>
                    <a:gd name="T70" fmla="*/ 383908 w 633095"/>
                    <a:gd name="T71" fmla="*/ 180149 h 387350"/>
                    <a:gd name="T72" fmla="*/ 383908 w 633095"/>
                    <a:gd name="T73" fmla="*/ 225640 h 387350"/>
                    <a:gd name="T74" fmla="*/ 560565 w 633095"/>
                    <a:gd name="T75" fmla="*/ 225640 h 387350"/>
                    <a:gd name="T76" fmla="*/ 569315 w 633095"/>
                    <a:gd name="T77" fmla="*/ 224358 h 387350"/>
                    <a:gd name="T78" fmla="*/ 577291 w 633095"/>
                    <a:gd name="T79" fmla="*/ 220726 h 387350"/>
                    <a:gd name="T80" fmla="*/ 583920 w 633095"/>
                    <a:gd name="T81" fmla="*/ 215074 h 387350"/>
                    <a:gd name="T82" fmla="*/ 588619 w 633095"/>
                    <a:gd name="T83" fmla="*/ 207721 h 387350"/>
                    <a:gd name="T84" fmla="*/ 599986 w 633095"/>
                    <a:gd name="T85" fmla="*/ 180149 h 387350"/>
                    <a:gd name="T86" fmla="*/ 632548 w 633095"/>
                    <a:gd name="T87" fmla="*/ 100926 h 387350"/>
                    <a:gd name="T88" fmla="*/ 436905 w 633095"/>
                    <a:gd name="T89" fmla="*/ 100926 h 387350"/>
                    <a:gd name="T90" fmla="*/ 436905 w 633095"/>
                    <a:gd name="T91" fmla="*/ 88277 h 387350"/>
                    <a:gd name="T92" fmla="*/ 383946 w 633095"/>
                    <a:gd name="T93" fmla="*/ 88277 h 387350"/>
                    <a:gd name="T94" fmla="*/ 383921 w 633095"/>
                    <a:gd name="T95" fmla="*/ 146418 h 387350"/>
                    <a:gd name="T96" fmla="*/ 593128 w 633095"/>
                    <a:gd name="T97" fmla="*/ 146418 h 387350"/>
                    <a:gd name="T98" fmla="*/ 601865 w 633095"/>
                    <a:gd name="T99" fmla="*/ 145135 h 387350"/>
                    <a:gd name="T100" fmla="*/ 609841 w 633095"/>
                    <a:gd name="T101" fmla="*/ 141503 h 387350"/>
                    <a:gd name="T102" fmla="*/ 616470 w 633095"/>
                    <a:gd name="T103" fmla="*/ 135839 h 387350"/>
                    <a:gd name="T104" fmla="*/ 621169 w 633095"/>
                    <a:gd name="T105" fmla="*/ 128485 h 387350"/>
                    <a:gd name="T106" fmla="*/ 632548 w 633095"/>
                    <a:gd name="T107" fmla="*/ 100926 h 387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3095" h="387350">
                      <a:moveTo>
                        <a:pt x="248602" y="180149"/>
                      </a:moveTo>
                      <a:lnTo>
                        <a:pt x="32524" y="180149"/>
                      </a:lnTo>
                      <a:lnTo>
                        <a:pt x="43903" y="207721"/>
                      </a:lnTo>
                      <a:lnTo>
                        <a:pt x="48602" y="215074"/>
                      </a:lnTo>
                      <a:lnTo>
                        <a:pt x="55219" y="220726"/>
                      </a:lnTo>
                      <a:lnTo>
                        <a:pt x="63207" y="224358"/>
                      </a:lnTo>
                      <a:lnTo>
                        <a:pt x="71945" y="225640"/>
                      </a:lnTo>
                      <a:lnTo>
                        <a:pt x="248602" y="225640"/>
                      </a:lnTo>
                      <a:lnTo>
                        <a:pt x="248602" y="180149"/>
                      </a:lnTo>
                      <a:close/>
                    </a:path>
                    <a:path w="633095" h="387350">
                      <a:moveTo>
                        <a:pt x="248602" y="100914"/>
                      </a:moveTo>
                      <a:lnTo>
                        <a:pt x="0" y="100914"/>
                      </a:lnTo>
                      <a:lnTo>
                        <a:pt x="11379" y="128473"/>
                      </a:lnTo>
                      <a:lnTo>
                        <a:pt x="16078" y="135839"/>
                      </a:lnTo>
                      <a:lnTo>
                        <a:pt x="22694" y="141490"/>
                      </a:lnTo>
                      <a:lnTo>
                        <a:pt x="30670" y="145135"/>
                      </a:lnTo>
                      <a:lnTo>
                        <a:pt x="39408" y="146418"/>
                      </a:lnTo>
                      <a:lnTo>
                        <a:pt x="248602" y="146418"/>
                      </a:lnTo>
                      <a:lnTo>
                        <a:pt x="248602" y="100914"/>
                      </a:lnTo>
                      <a:close/>
                    </a:path>
                    <a:path w="633095" h="387350">
                      <a:moveTo>
                        <a:pt x="383908" y="343484"/>
                      </a:moveTo>
                      <a:lnTo>
                        <a:pt x="353504" y="343484"/>
                      </a:lnTo>
                      <a:lnTo>
                        <a:pt x="348869" y="338924"/>
                      </a:lnTo>
                      <a:lnTo>
                        <a:pt x="348869" y="0"/>
                      </a:lnTo>
                      <a:lnTo>
                        <a:pt x="323748" y="0"/>
                      </a:lnTo>
                      <a:lnTo>
                        <a:pt x="262750" y="25336"/>
                      </a:lnTo>
                      <a:lnTo>
                        <a:pt x="254584" y="28219"/>
                      </a:lnTo>
                      <a:lnTo>
                        <a:pt x="254584" y="56146"/>
                      </a:lnTo>
                      <a:lnTo>
                        <a:pt x="279349" y="56146"/>
                      </a:lnTo>
                      <a:lnTo>
                        <a:pt x="283641" y="60350"/>
                      </a:lnTo>
                      <a:lnTo>
                        <a:pt x="283641" y="338924"/>
                      </a:lnTo>
                      <a:lnTo>
                        <a:pt x="279006" y="343484"/>
                      </a:lnTo>
                      <a:lnTo>
                        <a:pt x="248602" y="343484"/>
                      </a:lnTo>
                      <a:lnTo>
                        <a:pt x="248602" y="387286"/>
                      </a:lnTo>
                      <a:lnTo>
                        <a:pt x="383908" y="387286"/>
                      </a:lnTo>
                      <a:lnTo>
                        <a:pt x="383908" y="343484"/>
                      </a:lnTo>
                      <a:close/>
                    </a:path>
                    <a:path w="633095" h="387350">
                      <a:moveTo>
                        <a:pt x="599986" y="180149"/>
                      </a:moveTo>
                      <a:lnTo>
                        <a:pt x="383908" y="180149"/>
                      </a:lnTo>
                      <a:lnTo>
                        <a:pt x="383908" y="225640"/>
                      </a:lnTo>
                      <a:lnTo>
                        <a:pt x="560565" y="225640"/>
                      </a:lnTo>
                      <a:lnTo>
                        <a:pt x="569315" y="224358"/>
                      </a:lnTo>
                      <a:lnTo>
                        <a:pt x="577291" y="220726"/>
                      </a:lnTo>
                      <a:lnTo>
                        <a:pt x="583920" y="215074"/>
                      </a:lnTo>
                      <a:lnTo>
                        <a:pt x="588619" y="207721"/>
                      </a:lnTo>
                      <a:lnTo>
                        <a:pt x="599986" y="180149"/>
                      </a:lnTo>
                      <a:close/>
                    </a:path>
                    <a:path w="633095" h="387350">
                      <a:moveTo>
                        <a:pt x="632548" y="100926"/>
                      </a:moveTo>
                      <a:lnTo>
                        <a:pt x="436905" y="100926"/>
                      </a:lnTo>
                      <a:lnTo>
                        <a:pt x="436905" y="88277"/>
                      </a:lnTo>
                      <a:lnTo>
                        <a:pt x="383946" y="88277"/>
                      </a:lnTo>
                      <a:lnTo>
                        <a:pt x="383921" y="146418"/>
                      </a:lnTo>
                      <a:lnTo>
                        <a:pt x="593128" y="146418"/>
                      </a:lnTo>
                      <a:lnTo>
                        <a:pt x="601865" y="145135"/>
                      </a:lnTo>
                      <a:lnTo>
                        <a:pt x="609841" y="141503"/>
                      </a:lnTo>
                      <a:lnTo>
                        <a:pt x="616470" y="135839"/>
                      </a:lnTo>
                      <a:lnTo>
                        <a:pt x="621169" y="128485"/>
                      </a:lnTo>
                      <a:lnTo>
                        <a:pt x="632548" y="100926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83" name="object 77"/>
                <p:cNvPicPr>
                  <a:picLocks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38100" y="7134680"/>
                  <a:ext cx="178633" cy="6731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64" name="组合 63"/>
            <p:cNvGrpSpPr/>
            <p:nvPr userDrawn="1"/>
          </p:nvGrpSpPr>
          <p:grpSpPr>
            <a:xfrm>
              <a:off x="8416113" y="2195514"/>
              <a:ext cx="972114" cy="930216"/>
              <a:chOff x="8697913" y="3270250"/>
              <a:chExt cx="5510212" cy="5272723"/>
            </a:xfrm>
          </p:grpSpPr>
          <p:sp>
            <p:nvSpPr>
              <p:cNvPr id="65" name="object 2"/>
              <p:cNvSpPr>
                <a:spLocks noChangeArrowheads="1"/>
              </p:cNvSpPr>
              <p:nvPr userDrawn="1"/>
            </p:nvSpPr>
            <p:spPr bwMode="auto">
              <a:xfrm>
                <a:off x="10174288" y="4516438"/>
                <a:ext cx="271462" cy="287337"/>
              </a:xfrm>
              <a:custGeom>
                <a:avLst/>
                <a:gdLst>
                  <a:gd name="T0" fmla="*/ 133074 w 271145"/>
                  <a:gd name="T1" fmla="*/ 0 h 287020"/>
                  <a:gd name="T2" fmla="*/ 80102 w 271145"/>
                  <a:gd name="T3" fmla="*/ 10250 h 287020"/>
                  <a:gd name="T4" fmla="*/ 36616 w 271145"/>
                  <a:gd name="T5" fmla="*/ 40951 h 287020"/>
                  <a:gd name="T6" fmla="*/ 8063 w 271145"/>
                  <a:gd name="T7" fmla="*/ 86638 h 287020"/>
                  <a:gd name="T8" fmla="*/ 0 w 271145"/>
                  <a:gd name="T9" fmla="*/ 141733 h 287020"/>
                  <a:gd name="T10" fmla="*/ 0 w 271145"/>
                  <a:gd name="T11" fmla="*/ 148037 h 287020"/>
                  <a:gd name="T12" fmla="*/ 8398 w 271145"/>
                  <a:gd name="T13" fmla="*/ 200813 h 287020"/>
                  <a:gd name="T14" fmla="*/ 37286 w 271145"/>
                  <a:gd name="T15" fmla="*/ 245688 h 287020"/>
                  <a:gd name="T16" fmla="*/ 81354 w 271145"/>
                  <a:gd name="T17" fmla="*/ 276409 h 287020"/>
                  <a:gd name="T18" fmla="*/ 134917 w 271145"/>
                  <a:gd name="T19" fmla="*/ 286640 h 287020"/>
                  <a:gd name="T20" fmla="*/ 163142 w 271145"/>
                  <a:gd name="T21" fmla="*/ 284083 h 287020"/>
                  <a:gd name="T22" fmla="*/ 211363 w 271145"/>
                  <a:gd name="T23" fmla="*/ 263612 h 287020"/>
                  <a:gd name="T24" fmla="*/ 250011 w 271145"/>
                  <a:gd name="T25" fmla="*/ 224243 h 287020"/>
                  <a:gd name="T26" fmla="*/ 268661 w 271145"/>
                  <a:gd name="T27" fmla="*/ 175407 h 287020"/>
                  <a:gd name="T28" fmla="*/ 270808 w 271145"/>
                  <a:gd name="T29" fmla="*/ 148037 h 287020"/>
                  <a:gd name="T30" fmla="*/ 270808 w 271145"/>
                  <a:gd name="T31" fmla="*/ 141733 h 287020"/>
                  <a:gd name="T32" fmla="*/ 261892 w 271145"/>
                  <a:gd name="T33" fmla="*/ 86638 h 287020"/>
                  <a:gd name="T34" fmla="*/ 232526 w 271145"/>
                  <a:gd name="T35" fmla="*/ 40951 h 287020"/>
                  <a:gd name="T36" fmla="*/ 187512 w 271145"/>
                  <a:gd name="T37" fmla="*/ 10250 h 287020"/>
                  <a:gd name="T38" fmla="*/ 133074 w 271145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1145" h="287020">
                    <a:moveTo>
                      <a:pt x="133074" y="0"/>
                    </a:moveTo>
                    <a:lnTo>
                      <a:pt x="80102" y="10250"/>
                    </a:lnTo>
                    <a:lnTo>
                      <a:pt x="36616" y="40951"/>
                    </a:lnTo>
                    <a:lnTo>
                      <a:pt x="8063" y="86638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8398" y="200813"/>
                    </a:lnTo>
                    <a:lnTo>
                      <a:pt x="37286" y="245688"/>
                    </a:lnTo>
                    <a:lnTo>
                      <a:pt x="81354" y="276409"/>
                    </a:lnTo>
                    <a:lnTo>
                      <a:pt x="134917" y="286640"/>
                    </a:lnTo>
                    <a:lnTo>
                      <a:pt x="163142" y="284083"/>
                    </a:lnTo>
                    <a:lnTo>
                      <a:pt x="211363" y="263612"/>
                    </a:lnTo>
                    <a:lnTo>
                      <a:pt x="250011" y="224243"/>
                    </a:lnTo>
                    <a:lnTo>
                      <a:pt x="268661" y="175407"/>
                    </a:lnTo>
                    <a:lnTo>
                      <a:pt x="270808" y="148037"/>
                    </a:lnTo>
                    <a:lnTo>
                      <a:pt x="270808" y="141733"/>
                    </a:lnTo>
                    <a:lnTo>
                      <a:pt x="261892" y="86638"/>
                    </a:lnTo>
                    <a:lnTo>
                      <a:pt x="232526" y="40951"/>
                    </a:lnTo>
                    <a:lnTo>
                      <a:pt x="187512" y="10250"/>
                    </a:lnTo>
                    <a:lnTo>
                      <a:pt x="133074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6" name="object 3"/>
              <p:cNvSpPr>
                <a:spLocks noChangeArrowheads="1"/>
              </p:cNvSpPr>
              <p:nvPr userDrawn="1"/>
            </p:nvSpPr>
            <p:spPr bwMode="auto">
              <a:xfrm>
                <a:off x="9099550" y="4516438"/>
                <a:ext cx="287338" cy="287337"/>
              </a:xfrm>
              <a:custGeom>
                <a:avLst/>
                <a:gdLst>
                  <a:gd name="T0" fmla="*/ 143231 w 287654"/>
                  <a:gd name="T1" fmla="*/ 0 h 287020"/>
                  <a:gd name="T2" fmla="*/ 87502 w 287654"/>
                  <a:gd name="T3" fmla="*/ 10250 h 287020"/>
                  <a:gd name="T4" fmla="*/ 41339 w 287654"/>
                  <a:gd name="T5" fmla="*/ 40951 h 287020"/>
                  <a:gd name="T6" fmla="*/ 10315 w 287654"/>
                  <a:gd name="T7" fmla="*/ 86634 h 287020"/>
                  <a:gd name="T8" fmla="*/ 0 w 287654"/>
                  <a:gd name="T9" fmla="*/ 141733 h 287020"/>
                  <a:gd name="T10" fmla="*/ 0 w 287654"/>
                  <a:gd name="T11" fmla="*/ 148037 h 287020"/>
                  <a:gd name="T12" fmla="*/ 10315 w 287654"/>
                  <a:gd name="T13" fmla="*/ 200809 h 287020"/>
                  <a:gd name="T14" fmla="*/ 41339 w 287654"/>
                  <a:gd name="T15" fmla="*/ 245688 h 287020"/>
                  <a:gd name="T16" fmla="*/ 87513 w 287654"/>
                  <a:gd name="T17" fmla="*/ 276409 h 287020"/>
                  <a:gd name="T18" fmla="*/ 143252 w 287654"/>
                  <a:gd name="T19" fmla="*/ 286640 h 287020"/>
                  <a:gd name="T20" fmla="*/ 171199 w 287654"/>
                  <a:gd name="T21" fmla="*/ 284083 h 287020"/>
                  <a:gd name="T22" fmla="*/ 221874 w 287654"/>
                  <a:gd name="T23" fmla="*/ 263612 h 287020"/>
                  <a:gd name="T24" fmla="*/ 262293 w 287654"/>
                  <a:gd name="T25" fmla="*/ 224239 h 287020"/>
                  <a:gd name="T26" fmla="*/ 284327 w 287654"/>
                  <a:gd name="T27" fmla="*/ 175406 h 287020"/>
                  <a:gd name="T28" fmla="*/ 287216 w 287654"/>
                  <a:gd name="T29" fmla="*/ 148037 h 287020"/>
                  <a:gd name="T30" fmla="*/ 287216 w 287654"/>
                  <a:gd name="T31" fmla="*/ 141733 h 287020"/>
                  <a:gd name="T32" fmla="*/ 275894 w 287654"/>
                  <a:gd name="T33" fmla="*/ 86634 h 287020"/>
                  <a:gd name="T34" fmla="*/ 243856 w 287654"/>
                  <a:gd name="T35" fmla="*/ 40951 h 287020"/>
                  <a:gd name="T36" fmla="*/ 197513 w 287654"/>
                  <a:gd name="T37" fmla="*/ 10250 h 287020"/>
                  <a:gd name="T38" fmla="*/ 143231 w 287654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7654" h="287020">
                    <a:moveTo>
                      <a:pt x="143231" y="0"/>
                    </a:moveTo>
                    <a:lnTo>
                      <a:pt x="87502" y="10250"/>
                    </a:lnTo>
                    <a:lnTo>
                      <a:pt x="41339" y="40951"/>
                    </a:lnTo>
                    <a:lnTo>
                      <a:pt x="10315" y="86634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10315" y="200809"/>
                    </a:lnTo>
                    <a:lnTo>
                      <a:pt x="41339" y="245688"/>
                    </a:lnTo>
                    <a:lnTo>
                      <a:pt x="87513" y="276409"/>
                    </a:lnTo>
                    <a:lnTo>
                      <a:pt x="143252" y="286640"/>
                    </a:lnTo>
                    <a:lnTo>
                      <a:pt x="171199" y="284083"/>
                    </a:lnTo>
                    <a:lnTo>
                      <a:pt x="221874" y="263612"/>
                    </a:lnTo>
                    <a:lnTo>
                      <a:pt x="262293" y="224239"/>
                    </a:lnTo>
                    <a:lnTo>
                      <a:pt x="284327" y="175406"/>
                    </a:lnTo>
                    <a:lnTo>
                      <a:pt x="287216" y="148037"/>
                    </a:lnTo>
                    <a:lnTo>
                      <a:pt x="287216" y="141733"/>
                    </a:lnTo>
                    <a:lnTo>
                      <a:pt x="275894" y="86634"/>
                    </a:lnTo>
                    <a:lnTo>
                      <a:pt x="243856" y="40951"/>
                    </a:lnTo>
                    <a:lnTo>
                      <a:pt x="197513" y="10250"/>
                    </a:lnTo>
                    <a:lnTo>
                      <a:pt x="143231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7" name="object 4"/>
              <p:cNvSpPr>
                <a:spLocks noChangeArrowheads="1"/>
              </p:cNvSpPr>
              <p:nvPr userDrawn="1"/>
            </p:nvSpPr>
            <p:spPr bwMode="auto">
              <a:xfrm>
                <a:off x="9077325" y="4926013"/>
                <a:ext cx="1887538" cy="1328737"/>
              </a:xfrm>
              <a:custGeom>
                <a:avLst/>
                <a:gdLst>
                  <a:gd name="T0" fmla="*/ 242340 w 1887854"/>
                  <a:gd name="T1" fmla="*/ 1448 h 1329689"/>
                  <a:gd name="T2" fmla="*/ 138409 w 1887854"/>
                  <a:gd name="T3" fmla="*/ 95040 h 1329689"/>
                  <a:gd name="T4" fmla="*/ 158085 w 1887854"/>
                  <a:gd name="T5" fmla="*/ 193460 h 1329689"/>
                  <a:gd name="T6" fmla="*/ 268243 w 1887854"/>
                  <a:gd name="T7" fmla="*/ 254390 h 1329689"/>
                  <a:gd name="T8" fmla="*/ 810027 w 1887854"/>
                  <a:gd name="T9" fmla="*/ 286421 h 1329689"/>
                  <a:gd name="T10" fmla="*/ 809397 w 1887854"/>
                  <a:gd name="T11" fmla="*/ 322637 h 1329689"/>
                  <a:gd name="T12" fmla="*/ 784803 w 1887854"/>
                  <a:gd name="T13" fmla="*/ 336450 h 1329689"/>
                  <a:gd name="T14" fmla="*/ 306126 w 1887854"/>
                  <a:gd name="T15" fmla="*/ 359663 h 1329689"/>
                  <a:gd name="T16" fmla="*/ 246201 w 1887854"/>
                  <a:gd name="T17" fmla="*/ 469064 h 1329689"/>
                  <a:gd name="T18" fmla="*/ 306126 w 1887854"/>
                  <a:gd name="T19" fmla="*/ 577896 h 1329689"/>
                  <a:gd name="T20" fmla="*/ 772206 w 1887854"/>
                  <a:gd name="T21" fmla="*/ 599060 h 1329689"/>
                  <a:gd name="T22" fmla="*/ 810456 w 1887854"/>
                  <a:gd name="T23" fmla="*/ 646598 h 1329689"/>
                  <a:gd name="T24" fmla="*/ 805495 w 1887854"/>
                  <a:gd name="T25" fmla="*/ 683723 h 1329689"/>
                  <a:gd name="T26" fmla="*/ 129137 w 1887854"/>
                  <a:gd name="T27" fmla="*/ 689329 h 1329689"/>
                  <a:gd name="T28" fmla="*/ 21260 w 1887854"/>
                  <a:gd name="T29" fmla="*/ 749646 h 1329689"/>
                  <a:gd name="T30" fmla="*/ 2362 w 1887854"/>
                  <a:gd name="T31" fmla="*/ 850648 h 1329689"/>
                  <a:gd name="T32" fmla="*/ 103336 w 1887854"/>
                  <a:gd name="T33" fmla="*/ 949740 h 1329689"/>
                  <a:gd name="T34" fmla="*/ 779522 w 1887854"/>
                  <a:gd name="T35" fmla="*/ 953076 h 1329689"/>
                  <a:gd name="T36" fmla="*/ 810456 w 1887854"/>
                  <a:gd name="T37" fmla="*/ 1005686 h 1329689"/>
                  <a:gd name="T38" fmla="*/ 524356 w 1887854"/>
                  <a:gd name="T39" fmla="*/ 1045594 h 1329689"/>
                  <a:gd name="T40" fmla="*/ 415687 w 1887854"/>
                  <a:gd name="T41" fmla="*/ 1161054 h 1329689"/>
                  <a:gd name="T42" fmla="*/ 436156 w 1887854"/>
                  <a:gd name="T43" fmla="*/ 1267476 h 1329689"/>
                  <a:gd name="T44" fmla="*/ 551721 w 1887854"/>
                  <a:gd name="T45" fmla="*/ 1329425 h 1329689"/>
                  <a:gd name="T46" fmla="*/ 923395 w 1887854"/>
                  <a:gd name="T47" fmla="*/ 1309289 h 1329689"/>
                  <a:gd name="T48" fmla="*/ 1046496 w 1887854"/>
                  <a:gd name="T49" fmla="*/ 1209310 h 1329689"/>
                  <a:gd name="T50" fmla="*/ 1097673 w 1887854"/>
                  <a:gd name="T51" fmla="*/ 1052931 h 1329689"/>
                  <a:gd name="T52" fmla="*/ 1123262 w 1887854"/>
                  <a:gd name="T53" fmla="*/ 956309 h 1329689"/>
                  <a:gd name="T54" fmla="*/ 1779135 w 1887854"/>
                  <a:gd name="T55" fmla="*/ 949828 h 1329689"/>
                  <a:gd name="T56" fmla="*/ 1884859 w 1887854"/>
                  <a:gd name="T57" fmla="*/ 850983 h 1329689"/>
                  <a:gd name="T58" fmla="*/ 1865158 w 1887854"/>
                  <a:gd name="T59" fmla="*/ 749337 h 1329689"/>
                  <a:gd name="T60" fmla="*/ 1751873 w 1887854"/>
                  <a:gd name="T61" fmla="*/ 689329 h 1329689"/>
                  <a:gd name="T62" fmla="*/ 1100169 w 1887854"/>
                  <a:gd name="T63" fmla="*/ 663191 h 1329689"/>
                  <a:gd name="T64" fmla="*/ 1098985 w 1887854"/>
                  <a:gd name="T65" fmla="*/ 619698 h 1329689"/>
                  <a:gd name="T66" fmla="*/ 1124981 w 1887854"/>
                  <a:gd name="T67" fmla="*/ 599060 h 1329689"/>
                  <a:gd name="T68" fmla="*/ 1603643 w 1887854"/>
                  <a:gd name="T69" fmla="*/ 578382 h 1329689"/>
                  <a:gd name="T70" fmla="*/ 1663603 w 1887854"/>
                  <a:gd name="T71" fmla="*/ 469357 h 1329689"/>
                  <a:gd name="T72" fmla="*/ 1603643 w 1887854"/>
                  <a:gd name="T73" fmla="*/ 359297 h 1329689"/>
                  <a:gd name="T74" fmla="*/ 1137577 w 1887854"/>
                  <a:gd name="T75" fmla="*/ 336450 h 1329689"/>
                  <a:gd name="T76" fmla="*/ 1097673 w 1887854"/>
                  <a:gd name="T77" fmla="*/ 293823 h 1329689"/>
                  <a:gd name="T78" fmla="*/ 1103446 w 1887854"/>
                  <a:gd name="T79" fmla="*/ 259947 h 1329689"/>
                  <a:gd name="T80" fmla="*/ 1641552 w 1887854"/>
                  <a:gd name="T81" fmla="*/ 254390 h 1329689"/>
                  <a:gd name="T82" fmla="*/ 1751692 w 1887854"/>
                  <a:gd name="T83" fmla="*/ 191953 h 1329689"/>
                  <a:gd name="T84" fmla="*/ 1771379 w 1887854"/>
                  <a:gd name="T85" fmla="*/ 93647 h 1329689"/>
                  <a:gd name="T86" fmla="*/ 1667429 w 1887854"/>
                  <a:gd name="T87" fmla="*/ 1538 h 1329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87854" h="1329689">
                    <a:moveTo>
                      <a:pt x="1641552" y="0"/>
                    </a:moveTo>
                    <a:lnTo>
                      <a:pt x="268243" y="0"/>
                    </a:lnTo>
                    <a:lnTo>
                      <a:pt x="242340" y="1448"/>
                    </a:lnTo>
                    <a:lnTo>
                      <a:pt x="195884" y="16326"/>
                    </a:lnTo>
                    <a:lnTo>
                      <a:pt x="158085" y="51373"/>
                    </a:lnTo>
                    <a:lnTo>
                      <a:pt x="138409" y="95040"/>
                    </a:lnTo>
                    <a:lnTo>
                      <a:pt x="135953" y="120362"/>
                    </a:lnTo>
                    <a:lnTo>
                      <a:pt x="138409" y="146405"/>
                    </a:lnTo>
                    <a:lnTo>
                      <a:pt x="158085" y="193460"/>
                    </a:lnTo>
                    <a:lnTo>
                      <a:pt x="195884" y="231525"/>
                    </a:lnTo>
                    <a:lnTo>
                      <a:pt x="242340" y="251797"/>
                    </a:lnTo>
                    <a:lnTo>
                      <a:pt x="268243" y="254390"/>
                    </a:lnTo>
                    <a:lnTo>
                      <a:pt x="772206" y="254390"/>
                    </a:lnTo>
                    <a:lnTo>
                      <a:pt x="779522" y="254912"/>
                    </a:lnTo>
                    <a:lnTo>
                      <a:pt x="810027" y="286421"/>
                    </a:lnTo>
                    <a:lnTo>
                      <a:pt x="810456" y="293823"/>
                    </a:lnTo>
                    <a:lnTo>
                      <a:pt x="810456" y="309571"/>
                    </a:lnTo>
                    <a:lnTo>
                      <a:pt x="809397" y="322637"/>
                    </a:lnTo>
                    <a:lnTo>
                      <a:pt x="805495" y="330891"/>
                    </a:lnTo>
                    <a:lnTo>
                      <a:pt x="797659" y="335205"/>
                    </a:lnTo>
                    <a:lnTo>
                      <a:pt x="784803" y="336450"/>
                    </a:lnTo>
                    <a:lnTo>
                      <a:pt x="378491" y="336450"/>
                    </a:lnTo>
                    <a:lnTo>
                      <a:pt x="352584" y="339174"/>
                    </a:lnTo>
                    <a:lnTo>
                      <a:pt x="306126" y="359663"/>
                    </a:lnTo>
                    <a:lnTo>
                      <a:pt x="268324" y="396629"/>
                    </a:lnTo>
                    <a:lnTo>
                      <a:pt x="248656" y="443103"/>
                    </a:lnTo>
                    <a:lnTo>
                      <a:pt x="246201" y="469064"/>
                    </a:lnTo>
                    <a:lnTo>
                      <a:pt x="248656" y="494786"/>
                    </a:lnTo>
                    <a:lnTo>
                      <a:pt x="268324" y="540455"/>
                    </a:lnTo>
                    <a:lnTo>
                      <a:pt x="306126" y="577896"/>
                    </a:lnTo>
                    <a:lnTo>
                      <a:pt x="352584" y="596783"/>
                    </a:lnTo>
                    <a:lnTo>
                      <a:pt x="378491" y="599060"/>
                    </a:lnTo>
                    <a:lnTo>
                      <a:pt x="772206" y="599060"/>
                    </a:lnTo>
                    <a:lnTo>
                      <a:pt x="779522" y="600215"/>
                    </a:lnTo>
                    <a:lnTo>
                      <a:pt x="808374" y="630391"/>
                    </a:lnTo>
                    <a:lnTo>
                      <a:pt x="810456" y="646598"/>
                    </a:lnTo>
                    <a:lnTo>
                      <a:pt x="810456" y="662356"/>
                    </a:lnTo>
                    <a:lnTo>
                      <a:pt x="809397" y="675437"/>
                    </a:lnTo>
                    <a:lnTo>
                      <a:pt x="805495" y="683723"/>
                    </a:lnTo>
                    <a:lnTo>
                      <a:pt x="797659" y="688070"/>
                    </a:lnTo>
                    <a:lnTo>
                      <a:pt x="784803" y="689329"/>
                    </a:lnTo>
                    <a:lnTo>
                      <a:pt x="129137" y="689329"/>
                    </a:lnTo>
                    <a:lnTo>
                      <a:pt x="103336" y="692045"/>
                    </a:lnTo>
                    <a:lnTo>
                      <a:pt x="57675" y="712499"/>
                    </a:lnTo>
                    <a:lnTo>
                      <a:pt x="21260" y="749646"/>
                    </a:lnTo>
                    <a:lnTo>
                      <a:pt x="2362" y="797675"/>
                    </a:lnTo>
                    <a:lnTo>
                      <a:pt x="0" y="825021"/>
                    </a:lnTo>
                    <a:lnTo>
                      <a:pt x="2362" y="850648"/>
                    </a:lnTo>
                    <a:lnTo>
                      <a:pt x="21260" y="895542"/>
                    </a:lnTo>
                    <a:lnTo>
                      <a:pt x="57675" y="931609"/>
                    </a:lnTo>
                    <a:lnTo>
                      <a:pt x="103336" y="949740"/>
                    </a:lnTo>
                    <a:lnTo>
                      <a:pt x="129137" y="951929"/>
                    </a:lnTo>
                    <a:lnTo>
                      <a:pt x="772206" y="951929"/>
                    </a:lnTo>
                    <a:lnTo>
                      <a:pt x="779522" y="953076"/>
                    </a:lnTo>
                    <a:lnTo>
                      <a:pt x="808374" y="983976"/>
                    </a:lnTo>
                    <a:lnTo>
                      <a:pt x="810456" y="1002534"/>
                    </a:lnTo>
                    <a:lnTo>
                      <a:pt x="810456" y="1005686"/>
                    </a:lnTo>
                    <a:lnTo>
                      <a:pt x="786096" y="1041341"/>
                    </a:lnTo>
                    <a:lnTo>
                      <a:pt x="551721" y="1042198"/>
                    </a:lnTo>
                    <a:lnTo>
                      <a:pt x="524356" y="1045594"/>
                    </a:lnTo>
                    <a:lnTo>
                      <a:pt x="475521" y="1069758"/>
                    </a:lnTo>
                    <a:lnTo>
                      <a:pt x="436156" y="1110379"/>
                    </a:lnTo>
                    <a:lnTo>
                      <a:pt x="415687" y="1161054"/>
                    </a:lnTo>
                    <a:lnTo>
                      <a:pt x="413128" y="1188843"/>
                    </a:lnTo>
                    <a:lnTo>
                      <a:pt x="415687" y="1217473"/>
                    </a:lnTo>
                    <a:lnTo>
                      <a:pt x="436156" y="1267476"/>
                    </a:lnTo>
                    <a:lnTo>
                      <a:pt x="475521" y="1306861"/>
                    </a:lnTo>
                    <a:lnTo>
                      <a:pt x="524356" y="1326951"/>
                    </a:lnTo>
                    <a:lnTo>
                      <a:pt x="551721" y="1329425"/>
                    </a:lnTo>
                    <a:lnTo>
                      <a:pt x="816310" y="1329425"/>
                    </a:lnTo>
                    <a:lnTo>
                      <a:pt x="871423" y="1324858"/>
                    </a:lnTo>
                    <a:lnTo>
                      <a:pt x="923395" y="1309289"/>
                    </a:lnTo>
                    <a:lnTo>
                      <a:pt x="970632" y="1283785"/>
                    </a:lnTo>
                    <a:lnTo>
                      <a:pt x="1011602" y="1250412"/>
                    </a:lnTo>
                    <a:lnTo>
                      <a:pt x="1046496" y="1209310"/>
                    </a:lnTo>
                    <a:lnTo>
                      <a:pt x="1073537" y="1161116"/>
                    </a:lnTo>
                    <a:lnTo>
                      <a:pt x="1091106" y="1108205"/>
                    </a:lnTo>
                    <a:lnTo>
                      <a:pt x="1097673" y="1052931"/>
                    </a:lnTo>
                    <a:lnTo>
                      <a:pt x="1097673" y="1002534"/>
                    </a:lnTo>
                    <a:lnTo>
                      <a:pt x="1098231" y="993115"/>
                    </a:lnTo>
                    <a:lnTo>
                      <a:pt x="1123262" y="956309"/>
                    </a:lnTo>
                    <a:lnTo>
                      <a:pt x="1137577" y="951929"/>
                    </a:lnTo>
                    <a:lnTo>
                      <a:pt x="1751873" y="951929"/>
                    </a:lnTo>
                    <a:lnTo>
                      <a:pt x="1779135" y="949828"/>
                    </a:lnTo>
                    <a:lnTo>
                      <a:pt x="1827156" y="932081"/>
                    </a:lnTo>
                    <a:lnTo>
                      <a:pt x="1865158" y="896061"/>
                    </a:lnTo>
                    <a:lnTo>
                      <a:pt x="1884859" y="850983"/>
                    </a:lnTo>
                    <a:lnTo>
                      <a:pt x="1887324" y="825315"/>
                    </a:lnTo>
                    <a:lnTo>
                      <a:pt x="1884859" y="797853"/>
                    </a:lnTo>
                    <a:lnTo>
                      <a:pt x="1865158" y="749337"/>
                    </a:lnTo>
                    <a:lnTo>
                      <a:pt x="1827156" y="712145"/>
                    </a:lnTo>
                    <a:lnTo>
                      <a:pt x="1779135" y="691979"/>
                    </a:lnTo>
                    <a:lnTo>
                      <a:pt x="1751873" y="689329"/>
                    </a:lnTo>
                    <a:lnTo>
                      <a:pt x="1137577" y="689329"/>
                    </a:lnTo>
                    <a:lnTo>
                      <a:pt x="1130119" y="688797"/>
                    </a:lnTo>
                    <a:lnTo>
                      <a:pt x="1100169" y="663191"/>
                    </a:lnTo>
                    <a:lnTo>
                      <a:pt x="1097673" y="646598"/>
                    </a:lnTo>
                    <a:lnTo>
                      <a:pt x="1097673" y="634001"/>
                    </a:lnTo>
                    <a:lnTo>
                      <a:pt x="1098985" y="619698"/>
                    </a:lnTo>
                    <a:lnTo>
                      <a:pt x="1103446" y="608669"/>
                    </a:lnTo>
                    <a:lnTo>
                      <a:pt x="1111848" y="601571"/>
                    </a:lnTo>
                    <a:lnTo>
                      <a:pt x="1124981" y="599060"/>
                    </a:lnTo>
                    <a:lnTo>
                      <a:pt x="1531304" y="599060"/>
                    </a:lnTo>
                    <a:lnTo>
                      <a:pt x="1557182" y="596873"/>
                    </a:lnTo>
                    <a:lnTo>
                      <a:pt x="1603643" y="578382"/>
                    </a:lnTo>
                    <a:lnTo>
                      <a:pt x="1641450" y="540987"/>
                    </a:lnTo>
                    <a:lnTo>
                      <a:pt x="1661140" y="495123"/>
                    </a:lnTo>
                    <a:lnTo>
                      <a:pt x="1663603" y="469357"/>
                    </a:lnTo>
                    <a:lnTo>
                      <a:pt x="1661140" y="443279"/>
                    </a:lnTo>
                    <a:lnTo>
                      <a:pt x="1641450" y="396306"/>
                    </a:lnTo>
                    <a:lnTo>
                      <a:pt x="1603643" y="359297"/>
                    </a:lnTo>
                    <a:lnTo>
                      <a:pt x="1557182" y="339106"/>
                    </a:lnTo>
                    <a:lnTo>
                      <a:pt x="1531304" y="336450"/>
                    </a:lnTo>
                    <a:lnTo>
                      <a:pt x="1137577" y="336450"/>
                    </a:lnTo>
                    <a:lnTo>
                      <a:pt x="1130119" y="335926"/>
                    </a:lnTo>
                    <a:lnTo>
                      <a:pt x="1100169" y="310392"/>
                    </a:lnTo>
                    <a:lnTo>
                      <a:pt x="1097673" y="293823"/>
                    </a:lnTo>
                    <a:lnTo>
                      <a:pt x="1097673" y="281227"/>
                    </a:lnTo>
                    <a:lnTo>
                      <a:pt x="1098985" y="268190"/>
                    </a:lnTo>
                    <a:lnTo>
                      <a:pt x="1103446" y="259947"/>
                    </a:lnTo>
                    <a:lnTo>
                      <a:pt x="1111848" y="255635"/>
                    </a:lnTo>
                    <a:lnTo>
                      <a:pt x="1124981" y="254390"/>
                    </a:lnTo>
                    <a:lnTo>
                      <a:pt x="1641552" y="254390"/>
                    </a:lnTo>
                    <a:lnTo>
                      <a:pt x="1667429" y="251569"/>
                    </a:lnTo>
                    <a:lnTo>
                      <a:pt x="1713882" y="230293"/>
                    </a:lnTo>
                    <a:lnTo>
                      <a:pt x="1751692" y="191953"/>
                    </a:lnTo>
                    <a:lnTo>
                      <a:pt x="1771379" y="144693"/>
                    </a:lnTo>
                    <a:lnTo>
                      <a:pt x="1773841" y="118603"/>
                    </a:lnTo>
                    <a:lnTo>
                      <a:pt x="1771379" y="93647"/>
                    </a:lnTo>
                    <a:lnTo>
                      <a:pt x="1751692" y="51588"/>
                    </a:lnTo>
                    <a:lnTo>
                      <a:pt x="1713882" y="16812"/>
                    </a:lnTo>
                    <a:lnTo>
                      <a:pt x="1667429" y="1538"/>
                    </a:lnTo>
                    <a:lnTo>
                      <a:pt x="1641552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8" name="object 5"/>
              <p:cNvSpPr>
                <a:spLocks noChangeArrowheads="1"/>
              </p:cNvSpPr>
              <p:nvPr userDrawn="1"/>
            </p:nvSpPr>
            <p:spPr bwMode="auto">
              <a:xfrm>
                <a:off x="9083675" y="3970338"/>
                <a:ext cx="998538" cy="890587"/>
              </a:xfrm>
              <a:custGeom>
                <a:avLst/>
                <a:gdLst>
                  <a:gd name="T0" fmla="*/ 450405 w 998854"/>
                  <a:gd name="T1" fmla="*/ 8084 h 890904"/>
                  <a:gd name="T2" fmla="*/ 374033 w 998854"/>
                  <a:gd name="T3" fmla="*/ 70806 h 890904"/>
                  <a:gd name="T4" fmla="*/ 347642 w 998854"/>
                  <a:gd name="T5" fmla="*/ 159526 h 890904"/>
                  <a:gd name="T6" fmla="*/ 277862 w 998854"/>
                  <a:gd name="T7" fmla="*/ 222912 h 890904"/>
                  <a:gd name="T8" fmla="*/ 141754 w 998854"/>
                  <a:gd name="T9" fmla="*/ 225511 h 890904"/>
                  <a:gd name="T10" fmla="*/ 62594 w 998854"/>
                  <a:gd name="T11" fmla="*/ 242575 h 890904"/>
                  <a:gd name="T12" fmla="*/ 2558 w 998854"/>
                  <a:gd name="T13" fmla="*/ 325110 h 890904"/>
                  <a:gd name="T14" fmla="*/ 2558 w 998854"/>
                  <a:gd name="T15" fmla="*/ 380222 h 890904"/>
                  <a:gd name="T16" fmla="*/ 62594 w 998854"/>
                  <a:gd name="T17" fmla="*/ 467421 h 890904"/>
                  <a:gd name="T18" fmla="*/ 141754 w 998854"/>
                  <a:gd name="T19" fmla="*/ 488121 h 890904"/>
                  <a:gd name="T20" fmla="*/ 279459 w 998854"/>
                  <a:gd name="T21" fmla="*/ 490188 h 890904"/>
                  <a:gd name="T22" fmla="*/ 343964 w 998854"/>
                  <a:gd name="T23" fmla="*/ 535349 h 890904"/>
                  <a:gd name="T24" fmla="*/ 360512 w 998854"/>
                  <a:gd name="T25" fmla="*/ 594557 h 890904"/>
                  <a:gd name="T26" fmla="*/ 362958 w 998854"/>
                  <a:gd name="T27" fmla="*/ 779419 h 890904"/>
                  <a:gd name="T28" fmla="*/ 422324 w 998854"/>
                  <a:gd name="T29" fmla="*/ 867615 h 890904"/>
                  <a:gd name="T30" fmla="*/ 501178 w 998854"/>
                  <a:gd name="T31" fmla="*/ 890643 h 890904"/>
                  <a:gd name="T32" fmla="*/ 575418 w 998854"/>
                  <a:gd name="T33" fmla="*/ 867615 h 890904"/>
                  <a:gd name="T34" fmla="*/ 629664 w 998854"/>
                  <a:gd name="T35" fmla="*/ 779419 h 890904"/>
                  <a:gd name="T36" fmla="*/ 631321 w 998854"/>
                  <a:gd name="T37" fmla="*/ 594557 h 890904"/>
                  <a:gd name="T38" fmla="*/ 652012 w 998854"/>
                  <a:gd name="T39" fmla="*/ 535349 h 890904"/>
                  <a:gd name="T40" fmla="*/ 721407 w 998854"/>
                  <a:gd name="T41" fmla="*/ 490188 h 890904"/>
                  <a:gd name="T42" fmla="*/ 859910 w 998854"/>
                  <a:gd name="T43" fmla="*/ 488121 h 890904"/>
                  <a:gd name="T44" fmla="*/ 938137 w 998854"/>
                  <a:gd name="T45" fmla="*/ 466144 h 890904"/>
                  <a:gd name="T46" fmla="*/ 996030 w 998854"/>
                  <a:gd name="T47" fmla="*/ 379457 h 890904"/>
                  <a:gd name="T48" fmla="*/ 996030 w 998854"/>
                  <a:gd name="T49" fmla="*/ 324584 h 890904"/>
                  <a:gd name="T50" fmla="*/ 938137 w 998854"/>
                  <a:gd name="T51" fmla="*/ 242575 h 890904"/>
                  <a:gd name="T52" fmla="*/ 859910 w 998854"/>
                  <a:gd name="T53" fmla="*/ 225511 h 890904"/>
                  <a:gd name="T54" fmla="*/ 721897 w 998854"/>
                  <a:gd name="T55" fmla="*/ 222897 h 890904"/>
                  <a:gd name="T56" fmla="*/ 651219 w 998854"/>
                  <a:gd name="T57" fmla="*/ 160896 h 890904"/>
                  <a:gd name="T58" fmla="*/ 634188 w 998854"/>
                  <a:gd name="T59" fmla="*/ 96240 h 890904"/>
                  <a:gd name="T60" fmla="*/ 593741 w 998854"/>
                  <a:gd name="T61" fmla="*/ 33831 h 890904"/>
                  <a:gd name="T62" fmla="*/ 526699 w 998854"/>
                  <a:gd name="T63" fmla="*/ 2186 h 890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98854" h="890904">
                    <a:moveTo>
                      <a:pt x="500822" y="0"/>
                    </a:moveTo>
                    <a:lnTo>
                      <a:pt x="450405" y="8084"/>
                    </a:lnTo>
                    <a:lnTo>
                      <a:pt x="406333" y="32700"/>
                    </a:lnTo>
                    <a:lnTo>
                      <a:pt x="374033" y="70806"/>
                    </a:lnTo>
                    <a:lnTo>
                      <a:pt x="354637" y="139661"/>
                    </a:lnTo>
                    <a:lnTo>
                      <a:pt x="347642" y="159526"/>
                    </a:lnTo>
                    <a:lnTo>
                      <a:pt x="326011" y="192800"/>
                    </a:lnTo>
                    <a:lnTo>
                      <a:pt x="277862" y="222912"/>
                    </a:lnTo>
                    <a:lnTo>
                      <a:pt x="258285" y="225511"/>
                    </a:lnTo>
                    <a:lnTo>
                      <a:pt x="141754" y="225511"/>
                    </a:lnTo>
                    <a:lnTo>
                      <a:pt x="112996" y="227032"/>
                    </a:lnTo>
                    <a:lnTo>
                      <a:pt x="62594" y="242575"/>
                    </a:lnTo>
                    <a:lnTo>
                      <a:pt x="23032" y="279161"/>
                    </a:lnTo>
                    <a:lnTo>
                      <a:pt x="2558" y="325110"/>
                    </a:lnTo>
                    <a:lnTo>
                      <a:pt x="0" y="351905"/>
                    </a:lnTo>
                    <a:lnTo>
                      <a:pt x="2558" y="380222"/>
                    </a:lnTo>
                    <a:lnTo>
                      <a:pt x="23032" y="428725"/>
                    </a:lnTo>
                    <a:lnTo>
                      <a:pt x="62594" y="467421"/>
                    </a:lnTo>
                    <a:lnTo>
                      <a:pt x="112996" y="485994"/>
                    </a:lnTo>
                    <a:lnTo>
                      <a:pt x="141754" y="488121"/>
                    </a:lnTo>
                    <a:lnTo>
                      <a:pt x="258285" y="488121"/>
                    </a:lnTo>
                    <a:lnTo>
                      <a:pt x="279459" y="490188"/>
                    </a:lnTo>
                    <a:lnTo>
                      <a:pt x="316178" y="506011"/>
                    </a:lnTo>
                    <a:lnTo>
                      <a:pt x="343964" y="535349"/>
                    </a:lnTo>
                    <a:lnTo>
                      <a:pt x="358630" y="573211"/>
                    </a:lnTo>
                    <a:lnTo>
                      <a:pt x="360512" y="594557"/>
                    </a:lnTo>
                    <a:lnTo>
                      <a:pt x="360512" y="752050"/>
                    </a:lnTo>
                    <a:lnTo>
                      <a:pt x="362958" y="779419"/>
                    </a:lnTo>
                    <a:lnTo>
                      <a:pt x="382935" y="828247"/>
                    </a:lnTo>
                    <a:lnTo>
                      <a:pt x="422324" y="867615"/>
                    </a:lnTo>
                    <a:lnTo>
                      <a:pt x="472480" y="888086"/>
                    </a:lnTo>
                    <a:lnTo>
                      <a:pt x="501178" y="890643"/>
                    </a:lnTo>
                    <a:lnTo>
                      <a:pt x="529002" y="888086"/>
                    </a:lnTo>
                    <a:lnTo>
                      <a:pt x="575418" y="867615"/>
                    </a:lnTo>
                    <a:lnTo>
                      <a:pt x="613174" y="828247"/>
                    </a:lnTo>
                    <a:lnTo>
                      <a:pt x="629664" y="779419"/>
                    </a:lnTo>
                    <a:lnTo>
                      <a:pt x="631321" y="752050"/>
                    </a:lnTo>
                    <a:lnTo>
                      <a:pt x="631321" y="594557"/>
                    </a:lnTo>
                    <a:lnTo>
                      <a:pt x="633972" y="573211"/>
                    </a:lnTo>
                    <a:lnTo>
                      <a:pt x="652012" y="535349"/>
                    </a:lnTo>
                    <a:lnTo>
                      <a:pt x="681327" y="506011"/>
                    </a:lnTo>
                    <a:lnTo>
                      <a:pt x="721407" y="490188"/>
                    </a:lnTo>
                    <a:lnTo>
                      <a:pt x="743359" y="488121"/>
                    </a:lnTo>
                    <a:lnTo>
                      <a:pt x="859910" y="488121"/>
                    </a:lnTo>
                    <a:lnTo>
                      <a:pt x="888529" y="485758"/>
                    </a:lnTo>
                    <a:lnTo>
                      <a:pt x="938137" y="466144"/>
                    </a:lnTo>
                    <a:lnTo>
                      <a:pt x="976339" y="427350"/>
                    </a:lnTo>
                    <a:lnTo>
                      <a:pt x="996030" y="379457"/>
                    </a:lnTo>
                    <a:lnTo>
                      <a:pt x="998493" y="351277"/>
                    </a:lnTo>
                    <a:lnTo>
                      <a:pt x="996030" y="324584"/>
                    </a:lnTo>
                    <a:lnTo>
                      <a:pt x="976339" y="279064"/>
                    </a:lnTo>
                    <a:lnTo>
                      <a:pt x="938137" y="242575"/>
                    </a:lnTo>
                    <a:lnTo>
                      <a:pt x="888529" y="227032"/>
                    </a:lnTo>
                    <a:lnTo>
                      <a:pt x="859910" y="225511"/>
                    </a:lnTo>
                    <a:lnTo>
                      <a:pt x="740207" y="225511"/>
                    </a:lnTo>
                    <a:lnTo>
                      <a:pt x="721897" y="222897"/>
                    </a:lnTo>
                    <a:lnTo>
                      <a:pt x="674063" y="192706"/>
                    </a:lnTo>
                    <a:lnTo>
                      <a:pt x="651219" y="160896"/>
                    </a:lnTo>
                    <a:lnTo>
                      <a:pt x="639425" y="121964"/>
                    </a:lnTo>
                    <a:lnTo>
                      <a:pt x="634188" y="96240"/>
                    </a:lnTo>
                    <a:lnTo>
                      <a:pt x="624833" y="72785"/>
                    </a:lnTo>
                    <a:lnTo>
                      <a:pt x="593741" y="33831"/>
                    </a:lnTo>
                    <a:lnTo>
                      <a:pt x="550807" y="8650"/>
                    </a:lnTo>
                    <a:lnTo>
                      <a:pt x="526699" y="2186"/>
                    </a:lnTo>
                    <a:lnTo>
                      <a:pt x="500822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69" name="object 6"/>
              <p:cNvSpPr>
                <a:spLocks noChangeArrowheads="1"/>
              </p:cNvSpPr>
              <p:nvPr userDrawn="1"/>
            </p:nvSpPr>
            <p:spPr bwMode="auto">
              <a:xfrm>
                <a:off x="8713788" y="3270250"/>
                <a:ext cx="2439987" cy="2995613"/>
              </a:xfrm>
              <a:custGeom>
                <a:avLst/>
                <a:gdLst>
                  <a:gd name="T0" fmla="*/ 1306690 w 2439670"/>
                  <a:gd name="T1" fmla="*/ 42519 h 2995929"/>
                  <a:gd name="T2" fmla="*/ 1174064 w 2439670"/>
                  <a:gd name="T3" fmla="*/ 2667 h 2995929"/>
                  <a:gd name="T4" fmla="*/ 1061224 w 2439670"/>
                  <a:gd name="T5" fmla="*/ 117830 h 2995929"/>
                  <a:gd name="T6" fmla="*/ 1069505 w 2439670"/>
                  <a:gd name="T7" fmla="*/ 209080 h 2995929"/>
                  <a:gd name="T8" fmla="*/ 1204556 w 2439670"/>
                  <a:gd name="T9" fmla="*/ 299237 h 2995929"/>
                  <a:gd name="T10" fmla="*/ 1324762 w 2439670"/>
                  <a:gd name="T11" fmla="*/ 234175 h 2995929"/>
                  <a:gd name="T12" fmla="*/ 1345831 w 2439670"/>
                  <a:gd name="T13" fmla="*/ 148043 h 2995929"/>
                  <a:gd name="T14" fmla="*/ 1318056 w 2439670"/>
                  <a:gd name="T15" fmla="*/ 1288275 h 2995929"/>
                  <a:gd name="T16" fmla="*/ 1186611 w 2439670"/>
                  <a:gd name="T17" fmla="*/ 1249883 h 2995929"/>
                  <a:gd name="T18" fmla="*/ 1077620 w 2439670"/>
                  <a:gd name="T19" fmla="*/ 1360335 h 2995929"/>
                  <a:gd name="T20" fmla="*/ 1085354 w 2439670"/>
                  <a:gd name="T21" fmla="*/ 1448130 h 2995929"/>
                  <a:gd name="T22" fmla="*/ 1213916 w 2439670"/>
                  <a:gd name="T23" fmla="*/ 1533956 h 2995929"/>
                  <a:gd name="T24" fmla="*/ 1336421 w 2439670"/>
                  <a:gd name="T25" fmla="*/ 1471561 h 2995929"/>
                  <a:gd name="T26" fmla="*/ 1362252 w 2439670"/>
                  <a:gd name="T27" fmla="*/ 1389062 h 2995929"/>
                  <a:gd name="T28" fmla="*/ 2248712 w 2439670"/>
                  <a:gd name="T29" fmla="*/ 391464 h 2995929"/>
                  <a:gd name="T30" fmla="*/ 335203 w 2439670"/>
                  <a:gd name="T31" fmla="*/ 342874 h 2995929"/>
                  <a:gd name="T32" fmla="*/ 137947 w 2439670"/>
                  <a:gd name="T33" fmla="*/ 410489 h 2995929"/>
                  <a:gd name="T34" fmla="*/ 19570 w 2439670"/>
                  <a:gd name="T35" fmla="*/ 567309 h 2995929"/>
                  <a:gd name="T36" fmla="*/ 0 w 2439670"/>
                  <a:gd name="T37" fmla="*/ 2850565 h 2995929"/>
                  <a:gd name="T38" fmla="*/ 83870 w 2439670"/>
                  <a:gd name="T39" fmla="*/ 2985478 h 2995929"/>
                  <a:gd name="T40" fmla="*/ 218998 w 2439670"/>
                  <a:gd name="T41" fmla="*/ 2972435 h 2995929"/>
                  <a:gd name="T42" fmla="*/ 287223 w 2439670"/>
                  <a:gd name="T43" fmla="*/ 775119 h 2995929"/>
                  <a:gd name="T44" fmla="*/ 347002 w 2439670"/>
                  <a:gd name="T45" fmla="*/ 674839 h 2995929"/>
                  <a:gd name="T46" fmla="*/ 2146338 w 2439670"/>
                  <a:gd name="T47" fmla="*/ 654710 h 2995929"/>
                  <a:gd name="T48" fmla="*/ 2267318 w 2439670"/>
                  <a:gd name="T49" fmla="*/ 585000 h 2995929"/>
                  <a:gd name="T50" fmla="*/ 2412669 w 2439670"/>
                  <a:gd name="T51" fmla="*/ 1389062 h 2995929"/>
                  <a:gd name="T52" fmla="*/ 2334171 w 2439670"/>
                  <a:gd name="T53" fmla="*/ 1257579 h 2995929"/>
                  <a:gd name="T54" fmla="*/ 2208479 w 2439670"/>
                  <a:gd name="T55" fmla="*/ 1270368 h 2995929"/>
                  <a:gd name="T56" fmla="*/ 2150059 w 2439670"/>
                  <a:gd name="T57" fmla="*/ 1389062 h 2995929"/>
                  <a:gd name="T58" fmla="*/ 2187575 w 2439670"/>
                  <a:gd name="T59" fmla="*/ 1493012 h 2995929"/>
                  <a:gd name="T60" fmla="*/ 2311247 w 2439670"/>
                  <a:gd name="T61" fmla="*/ 1531404 h 2995929"/>
                  <a:gd name="T62" fmla="*/ 2411095 w 2439670"/>
                  <a:gd name="T63" fmla="*/ 1422730 h 2995929"/>
                  <a:gd name="T64" fmla="*/ 2439276 w 2439670"/>
                  <a:gd name="T65" fmla="*/ 1048258 h 2995929"/>
                  <a:gd name="T66" fmla="*/ 2352649 w 2439670"/>
                  <a:gd name="T67" fmla="*/ 932192 h 2995929"/>
                  <a:gd name="T68" fmla="*/ 2161400 w 2439670"/>
                  <a:gd name="T69" fmla="*/ 922909 h 2995929"/>
                  <a:gd name="T70" fmla="*/ 2080209 w 2439670"/>
                  <a:gd name="T71" fmla="*/ 821969 h 2995929"/>
                  <a:gd name="T72" fmla="*/ 2032952 w 2439670"/>
                  <a:gd name="T73" fmla="*/ 733844 h 2995929"/>
                  <a:gd name="T74" fmla="*/ 1912543 w 2439670"/>
                  <a:gd name="T75" fmla="*/ 702017 h 2995929"/>
                  <a:gd name="T76" fmla="*/ 1805076 w 2439670"/>
                  <a:gd name="T77" fmla="*/ 793673 h 2995929"/>
                  <a:gd name="T78" fmla="*/ 1766785 w 2439670"/>
                  <a:gd name="T79" fmla="*/ 892810 h 2995929"/>
                  <a:gd name="T80" fmla="*/ 1579384 w 2439670"/>
                  <a:gd name="T81" fmla="*/ 925525 h 2995929"/>
                  <a:gd name="T82" fmla="*/ 1462925 w 2439670"/>
                  <a:gd name="T83" fmla="*/ 979170 h 2995929"/>
                  <a:gd name="T84" fmla="*/ 1443240 w 2439670"/>
                  <a:gd name="T85" fmla="*/ 1080223 h 2995929"/>
                  <a:gd name="T86" fmla="*/ 1550720 w 2439670"/>
                  <a:gd name="T87" fmla="*/ 1186002 h 2995929"/>
                  <a:gd name="T88" fmla="*/ 1716227 w 2439670"/>
                  <a:gd name="T89" fmla="*/ 1190193 h 2995929"/>
                  <a:gd name="T90" fmla="*/ 1788985 w 2439670"/>
                  <a:gd name="T91" fmla="*/ 1294574 h 2995929"/>
                  <a:gd name="T92" fmla="*/ 1815706 w 2439670"/>
                  <a:gd name="T93" fmla="*/ 1528254 h 2995929"/>
                  <a:gd name="T94" fmla="*/ 1935734 w 2439670"/>
                  <a:gd name="T95" fmla="*/ 1590649 h 2995929"/>
                  <a:gd name="T96" fmla="*/ 2067928 w 2439670"/>
                  <a:gd name="T97" fmla="*/ 1528254 h 2995929"/>
                  <a:gd name="T98" fmla="*/ 2100821 w 2439670"/>
                  <a:gd name="T99" fmla="*/ 1294574 h 2995929"/>
                  <a:gd name="T100" fmla="*/ 2134654 w 2439670"/>
                  <a:gd name="T101" fmla="*/ 1206017 h 2995929"/>
                  <a:gd name="T102" fmla="*/ 2326271 w 2439670"/>
                  <a:gd name="T103" fmla="*/ 1185773 h 2995929"/>
                  <a:gd name="T104" fmla="*/ 2436711 w 2439670"/>
                  <a:gd name="T105" fmla="*/ 1076921 h 2995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39670" h="2995929">
                    <a:moveTo>
                      <a:pt x="1345831" y="148043"/>
                    </a:moveTo>
                    <a:lnTo>
                      <a:pt x="1336890" y="90170"/>
                    </a:lnTo>
                    <a:lnTo>
                      <a:pt x="1306690" y="42519"/>
                    </a:lnTo>
                    <a:lnTo>
                      <a:pt x="1259890" y="10629"/>
                    </a:lnTo>
                    <a:lnTo>
                      <a:pt x="1202880" y="0"/>
                    </a:lnTo>
                    <a:lnTo>
                      <a:pt x="1174064" y="2667"/>
                    </a:lnTo>
                    <a:lnTo>
                      <a:pt x="1123111" y="23914"/>
                    </a:lnTo>
                    <a:lnTo>
                      <a:pt x="1082268" y="65062"/>
                    </a:lnTo>
                    <a:lnTo>
                      <a:pt x="1061224" y="117830"/>
                    </a:lnTo>
                    <a:lnTo>
                      <a:pt x="1058621" y="148043"/>
                    </a:lnTo>
                    <a:lnTo>
                      <a:pt x="1058621" y="151193"/>
                    </a:lnTo>
                    <a:lnTo>
                      <a:pt x="1069505" y="209080"/>
                    </a:lnTo>
                    <a:lnTo>
                      <a:pt x="1101661" y="256705"/>
                    </a:lnTo>
                    <a:lnTo>
                      <a:pt x="1148765" y="288607"/>
                    </a:lnTo>
                    <a:lnTo>
                      <a:pt x="1204556" y="299237"/>
                    </a:lnTo>
                    <a:lnTo>
                      <a:pt x="1234236" y="296570"/>
                    </a:lnTo>
                    <a:lnTo>
                      <a:pt x="1284681" y="275310"/>
                    </a:lnTo>
                    <a:lnTo>
                      <a:pt x="1324762" y="234175"/>
                    </a:lnTo>
                    <a:lnTo>
                      <a:pt x="1343698" y="181419"/>
                    </a:lnTo>
                    <a:lnTo>
                      <a:pt x="1345831" y="151193"/>
                    </a:lnTo>
                    <a:lnTo>
                      <a:pt x="1345831" y="148043"/>
                    </a:lnTo>
                    <a:close/>
                  </a:path>
                  <a:path w="2439670" h="2995929">
                    <a:moveTo>
                      <a:pt x="1362252" y="1389062"/>
                    </a:moveTo>
                    <a:lnTo>
                      <a:pt x="1350378" y="1333957"/>
                    </a:lnTo>
                    <a:lnTo>
                      <a:pt x="1318056" y="1288275"/>
                    </a:lnTo>
                    <a:lnTo>
                      <a:pt x="1270736" y="1257579"/>
                    </a:lnTo>
                    <a:lnTo>
                      <a:pt x="1214005" y="1247317"/>
                    </a:lnTo>
                    <a:lnTo>
                      <a:pt x="1186611" y="1249883"/>
                    </a:lnTo>
                    <a:lnTo>
                      <a:pt x="1137640" y="1270368"/>
                    </a:lnTo>
                    <a:lnTo>
                      <a:pt x="1098219" y="1309941"/>
                    </a:lnTo>
                    <a:lnTo>
                      <a:pt x="1077620" y="1360335"/>
                    </a:lnTo>
                    <a:lnTo>
                      <a:pt x="1075029" y="1389062"/>
                    </a:lnTo>
                    <a:lnTo>
                      <a:pt x="1075029" y="1395361"/>
                    </a:lnTo>
                    <a:lnTo>
                      <a:pt x="1085354" y="1448130"/>
                    </a:lnTo>
                    <a:lnTo>
                      <a:pt x="1116164" y="1493012"/>
                    </a:lnTo>
                    <a:lnTo>
                      <a:pt x="1161097" y="1523733"/>
                    </a:lnTo>
                    <a:lnTo>
                      <a:pt x="1213916" y="1533956"/>
                    </a:lnTo>
                    <a:lnTo>
                      <a:pt x="1243152" y="1531404"/>
                    </a:lnTo>
                    <a:lnTo>
                      <a:pt x="1295831" y="1510931"/>
                    </a:lnTo>
                    <a:lnTo>
                      <a:pt x="1336421" y="1471561"/>
                    </a:lnTo>
                    <a:lnTo>
                      <a:pt x="1359179" y="1422730"/>
                    </a:lnTo>
                    <a:lnTo>
                      <a:pt x="1362252" y="1395361"/>
                    </a:lnTo>
                    <a:lnTo>
                      <a:pt x="1362252" y="1389062"/>
                    </a:lnTo>
                    <a:close/>
                  </a:path>
                  <a:path w="2439670" h="2995929">
                    <a:moveTo>
                      <a:pt x="2291232" y="503072"/>
                    </a:moveTo>
                    <a:lnTo>
                      <a:pt x="2280602" y="442163"/>
                    </a:lnTo>
                    <a:lnTo>
                      <a:pt x="2248712" y="391464"/>
                    </a:lnTo>
                    <a:lnTo>
                      <a:pt x="2201849" y="356539"/>
                    </a:lnTo>
                    <a:lnTo>
                      <a:pt x="2146338" y="342874"/>
                    </a:lnTo>
                    <a:lnTo>
                      <a:pt x="335203" y="342874"/>
                    </a:lnTo>
                    <a:lnTo>
                      <a:pt x="264706" y="352437"/>
                    </a:lnTo>
                    <a:lnTo>
                      <a:pt x="198196" y="376174"/>
                    </a:lnTo>
                    <a:lnTo>
                      <a:pt x="137947" y="410489"/>
                    </a:lnTo>
                    <a:lnTo>
                      <a:pt x="86385" y="454240"/>
                    </a:lnTo>
                    <a:lnTo>
                      <a:pt x="48247" y="506450"/>
                    </a:lnTo>
                    <a:lnTo>
                      <a:pt x="19570" y="567309"/>
                    </a:lnTo>
                    <a:lnTo>
                      <a:pt x="2692" y="634479"/>
                    </a:lnTo>
                    <a:lnTo>
                      <a:pt x="0" y="705548"/>
                    </a:lnTo>
                    <a:lnTo>
                      <a:pt x="0" y="2850565"/>
                    </a:lnTo>
                    <a:lnTo>
                      <a:pt x="10490" y="2907385"/>
                    </a:lnTo>
                    <a:lnTo>
                      <a:pt x="42608" y="2954159"/>
                    </a:lnTo>
                    <a:lnTo>
                      <a:pt x="83870" y="2985478"/>
                    </a:lnTo>
                    <a:lnTo>
                      <a:pt x="134353" y="2995917"/>
                    </a:lnTo>
                    <a:lnTo>
                      <a:pt x="164630" y="2993313"/>
                    </a:lnTo>
                    <a:lnTo>
                      <a:pt x="218998" y="2972435"/>
                    </a:lnTo>
                    <a:lnTo>
                      <a:pt x="260565" y="2932036"/>
                    </a:lnTo>
                    <a:lnTo>
                      <a:pt x="284022" y="2880220"/>
                    </a:lnTo>
                    <a:lnTo>
                      <a:pt x="287223" y="775119"/>
                    </a:lnTo>
                    <a:lnTo>
                      <a:pt x="289585" y="751357"/>
                    </a:lnTo>
                    <a:lnTo>
                      <a:pt x="308419" y="710996"/>
                    </a:lnTo>
                    <a:lnTo>
                      <a:pt x="347002" y="674839"/>
                    </a:lnTo>
                    <a:lnTo>
                      <a:pt x="395300" y="656666"/>
                    </a:lnTo>
                    <a:lnTo>
                      <a:pt x="423405" y="654710"/>
                    </a:lnTo>
                    <a:lnTo>
                      <a:pt x="2146338" y="654710"/>
                    </a:lnTo>
                    <a:lnTo>
                      <a:pt x="2175167" y="651357"/>
                    </a:lnTo>
                    <a:lnTo>
                      <a:pt x="2226360" y="626999"/>
                    </a:lnTo>
                    <a:lnTo>
                      <a:pt x="2267318" y="585000"/>
                    </a:lnTo>
                    <a:lnTo>
                      <a:pt x="2288578" y="532269"/>
                    </a:lnTo>
                    <a:lnTo>
                      <a:pt x="2291232" y="503072"/>
                    </a:lnTo>
                    <a:close/>
                  </a:path>
                  <a:path w="2439670" h="2995929">
                    <a:moveTo>
                      <a:pt x="2412669" y="1389062"/>
                    </a:moveTo>
                    <a:lnTo>
                      <a:pt x="2405138" y="1333957"/>
                    </a:lnTo>
                    <a:lnTo>
                      <a:pt x="2377148" y="1288275"/>
                    </a:lnTo>
                    <a:lnTo>
                      <a:pt x="2334171" y="1257579"/>
                    </a:lnTo>
                    <a:lnTo>
                      <a:pt x="2281783" y="1247317"/>
                    </a:lnTo>
                    <a:lnTo>
                      <a:pt x="2254948" y="1249883"/>
                    </a:lnTo>
                    <a:lnTo>
                      <a:pt x="2208479" y="1270368"/>
                    </a:lnTo>
                    <a:lnTo>
                      <a:pt x="2170188" y="1309941"/>
                    </a:lnTo>
                    <a:lnTo>
                      <a:pt x="2152078" y="1360335"/>
                    </a:lnTo>
                    <a:lnTo>
                      <a:pt x="2150059" y="1389062"/>
                    </a:lnTo>
                    <a:lnTo>
                      <a:pt x="2150059" y="1395361"/>
                    </a:lnTo>
                    <a:lnTo>
                      <a:pt x="2158581" y="1448130"/>
                    </a:lnTo>
                    <a:lnTo>
                      <a:pt x="2187575" y="1493012"/>
                    </a:lnTo>
                    <a:lnTo>
                      <a:pt x="2231593" y="1523733"/>
                    </a:lnTo>
                    <a:lnTo>
                      <a:pt x="2283498" y="1533956"/>
                    </a:lnTo>
                    <a:lnTo>
                      <a:pt x="2311247" y="1531404"/>
                    </a:lnTo>
                    <a:lnTo>
                      <a:pt x="2357323" y="1510931"/>
                    </a:lnTo>
                    <a:lnTo>
                      <a:pt x="2394928" y="1471561"/>
                    </a:lnTo>
                    <a:lnTo>
                      <a:pt x="2411095" y="1422730"/>
                    </a:lnTo>
                    <a:lnTo>
                      <a:pt x="2412669" y="1395361"/>
                    </a:lnTo>
                    <a:lnTo>
                      <a:pt x="2412669" y="1389062"/>
                    </a:lnTo>
                    <a:close/>
                  </a:path>
                  <a:path w="2439670" h="2995929">
                    <a:moveTo>
                      <a:pt x="2439276" y="1048258"/>
                    </a:moveTo>
                    <a:lnTo>
                      <a:pt x="2429027" y="999083"/>
                    </a:lnTo>
                    <a:lnTo>
                      <a:pt x="2398318" y="958545"/>
                    </a:lnTo>
                    <a:lnTo>
                      <a:pt x="2352649" y="932192"/>
                    </a:lnTo>
                    <a:lnTo>
                      <a:pt x="2297531" y="925525"/>
                    </a:lnTo>
                    <a:lnTo>
                      <a:pt x="2180983" y="925525"/>
                    </a:lnTo>
                    <a:lnTo>
                      <a:pt x="2161400" y="922909"/>
                    </a:lnTo>
                    <a:lnTo>
                      <a:pt x="2127529" y="905383"/>
                    </a:lnTo>
                    <a:lnTo>
                      <a:pt x="2091601" y="860907"/>
                    </a:lnTo>
                    <a:lnTo>
                      <a:pt x="2080209" y="821969"/>
                    </a:lnTo>
                    <a:lnTo>
                      <a:pt x="2074862" y="796251"/>
                    </a:lnTo>
                    <a:lnTo>
                      <a:pt x="2065210" y="772795"/>
                    </a:lnTo>
                    <a:lnTo>
                      <a:pt x="2032952" y="733844"/>
                    </a:lnTo>
                    <a:lnTo>
                      <a:pt x="1988845" y="708660"/>
                    </a:lnTo>
                    <a:lnTo>
                      <a:pt x="1938451" y="700011"/>
                    </a:lnTo>
                    <a:lnTo>
                      <a:pt x="1912543" y="702017"/>
                    </a:lnTo>
                    <a:lnTo>
                      <a:pt x="1866099" y="718299"/>
                    </a:lnTo>
                    <a:lnTo>
                      <a:pt x="1827898" y="750493"/>
                    </a:lnTo>
                    <a:lnTo>
                      <a:pt x="1805076" y="793673"/>
                    </a:lnTo>
                    <a:lnTo>
                      <a:pt x="1796618" y="839673"/>
                    </a:lnTo>
                    <a:lnTo>
                      <a:pt x="1790014" y="859536"/>
                    </a:lnTo>
                    <a:lnTo>
                      <a:pt x="1766785" y="892810"/>
                    </a:lnTo>
                    <a:lnTo>
                      <a:pt x="1734896" y="915860"/>
                    </a:lnTo>
                    <a:lnTo>
                      <a:pt x="1699069" y="925525"/>
                    </a:lnTo>
                    <a:lnTo>
                      <a:pt x="1579384" y="925525"/>
                    </a:lnTo>
                    <a:lnTo>
                      <a:pt x="1550720" y="927036"/>
                    </a:lnTo>
                    <a:lnTo>
                      <a:pt x="1501114" y="942581"/>
                    </a:lnTo>
                    <a:lnTo>
                      <a:pt x="1462925" y="979170"/>
                    </a:lnTo>
                    <a:lnTo>
                      <a:pt x="1443240" y="1025118"/>
                    </a:lnTo>
                    <a:lnTo>
                      <a:pt x="1440789" y="1051902"/>
                    </a:lnTo>
                    <a:lnTo>
                      <a:pt x="1443240" y="1080223"/>
                    </a:lnTo>
                    <a:lnTo>
                      <a:pt x="1462925" y="1128725"/>
                    </a:lnTo>
                    <a:lnTo>
                      <a:pt x="1501114" y="1167422"/>
                    </a:lnTo>
                    <a:lnTo>
                      <a:pt x="1550720" y="1186002"/>
                    </a:lnTo>
                    <a:lnTo>
                      <a:pt x="1579384" y="1188135"/>
                    </a:lnTo>
                    <a:lnTo>
                      <a:pt x="1695919" y="1188135"/>
                    </a:lnTo>
                    <a:lnTo>
                      <a:pt x="1716227" y="1190193"/>
                    </a:lnTo>
                    <a:lnTo>
                      <a:pt x="1764499" y="1219301"/>
                    </a:lnTo>
                    <a:lnTo>
                      <a:pt x="1784223" y="1253413"/>
                    </a:lnTo>
                    <a:lnTo>
                      <a:pt x="1788985" y="1294574"/>
                    </a:lnTo>
                    <a:lnTo>
                      <a:pt x="1788985" y="1452054"/>
                    </a:lnTo>
                    <a:lnTo>
                      <a:pt x="1792287" y="1479435"/>
                    </a:lnTo>
                    <a:lnTo>
                      <a:pt x="1815706" y="1528254"/>
                    </a:lnTo>
                    <a:lnTo>
                      <a:pt x="1855177" y="1567624"/>
                    </a:lnTo>
                    <a:lnTo>
                      <a:pt x="1906663" y="1588096"/>
                    </a:lnTo>
                    <a:lnTo>
                      <a:pt x="1935734" y="1590649"/>
                    </a:lnTo>
                    <a:lnTo>
                      <a:pt x="1966290" y="1588096"/>
                    </a:lnTo>
                    <a:lnTo>
                      <a:pt x="2024710" y="1567624"/>
                    </a:lnTo>
                    <a:lnTo>
                      <a:pt x="2067928" y="1528254"/>
                    </a:lnTo>
                    <a:lnTo>
                      <a:pt x="2096427" y="1479435"/>
                    </a:lnTo>
                    <a:lnTo>
                      <a:pt x="2100821" y="1452054"/>
                    </a:lnTo>
                    <a:lnTo>
                      <a:pt x="2100821" y="1294574"/>
                    </a:lnTo>
                    <a:lnTo>
                      <a:pt x="2101075" y="1273225"/>
                    </a:lnTo>
                    <a:lnTo>
                      <a:pt x="2108936" y="1235354"/>
                    </a:lnTo>
                    <a:lnTo>
                      <a:pt x="2134654" y="1206017"/>
                    </a:lnTo>
                    <a:lnTo>
                      <a:pt x="2184133" y="1188135"/>
                    </a:lnTo>
                    <a:lnTo>
                      <a:pt x="2297531" y="1188135"/>
                    </a:lnTo>
                    <a:lnTo>
                      <a:pt x="2326271" y="1185773"/>
                    </a:lnTo>
                    <a:lnTo>
                      <a:pt x="2376665" y="1166152"/>
                    </a:lnTo>
                    <a:lnTo>
                      <a:pt x="2416225" y="1126883"/>
                    </a:lnTo>
                    <a:lnTo>
                      <a:pt x="2436711" y="1076921"/>
                    </a:lnTo>
                    <a:lnTo>
                      <a:pt x="2439276" y="1048258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0" name="object 7"/>
              <p:cNvSpPr>
                <a:spLocks noChangeArrowheads="1"/>
              </p:cNvSpPr>
              <p:nvPr userDrawn="1"/>
            </p:nvSpPr>
            <p:spPr bwMode="auto">
              <a:xfrm>
                <a:off x="11455400" y="3736975"/>
                <a:ext cx="947738" cy="2436813"/>
              </a:xfrm>
              <a:custGeom>
                <a:avLst/>
                <a:gdLst>
                  <a:gd name="T0" fmla="*/ 413225 w 948054"/>
                  <a:gd name="T1" fmla="*/ 11223 h 2436495"/>
                  <a:gd name="T2" fmla="*/ 324716 w 948054"/>
                  <a:gd name="T3" fmla="*/ 95209 h 2436495"/>
                  <a:gd name="T4" fmla="*/ 311215 w 948054"/>
                  <a:gd name="T5" fmla="*/ 362502 h 2436495"/>
                  <a:gd name="T6" fmla="*/ 294023 w 948054"/>
                  <a:gd name="T7" fmla="*/ 430568 h 2436495"/>
                  <a:gd name="T8" fmla="*/ 217799 w 948054"/>
                  <a:gd name="T9" fmla="*/ 481351 h 2436495"/>
                  <a:gd name="T10" fmla="*/ 156288 w 948054"/>
                  <a:gd name="T11" fmla="*/ 483189 h 2436495"/>
                  <a:gd name="T12" fmla="*/ 68680 w 948054"/>
                  <a:gd name="T13" fmla="*/ 510842 h 2436495"/>
                  <a:gd name="T14" fmla="*/ 2804 w 948054"/>
                  <a:gd name="T15" fmla="*/ 611639 h 2436495"/>
                  <a:gd name="T16" fmla="*/ 2804 w 948054"/>
                  <a:gd name="T17" fmla="*/ 675928 h 2436495"/>
                  <a:gd name="T18" fmla="*/ 68680 w 948054"/>
                  <a:gd name="T19" fmla="*/ 776645 h 2436495"/>
                  <a:gd name="T20" fmla="*/ 156288 w 948054"/>
                  <a:gd name="T21" fmla="*/ 803242 h 2436495"/>
                  <a:gd name="T22" fmla="*/ 217799 w 948054"/>
                  <a:gd name="T23" fmla="*/ 805393 h 2436495"/>
                  <a:gd name="T24" fmla="*/ 294023 w 948054"/>
                  <a:gd name="T25" fmla="*/ 858157 h 2436495"/>
                  <a:gd name="T26" fmla="*/ 311215 w 948054"/>
                  <a:gd name="T27" fmla="*/ 927856 h 2436495"/>
                  <a:gd name="T28" fmla="*/ 304074 w 948054"/>
                  <a:gd name="T29" fmla="*/ 1157861 h 2436495"/>
                  <a:gd name="T30" fmla="*/ 239898 w 948054"/>
                  <a:gd name="T31" fmla="*/ 1228039 h 2436495"/>
                  <a:gd name="T32" fmla="*/ 156288 w 948054"/>
                  <a:gd name="T33" fmla="*/ 1238171 h 2436495"/>
                  <a:gd name="T34" fmla="*/ 68680 w 948054"/>
                  <a:gd name="T35" fmla="*/ 1261734 h 2436495"/>
                  <a:gd name="T36" fmla="*/ 2804 w 948054"/>
                  <a:gd name="T37" fmla="*/ 1359734 h 2436495"/>
                  <a:gd name="T38" fmla="*/ 2804 w 948054"/>
                  <a:gd name="T39" fmla="*/ 1422928 h 2436495"/>
                  <a:gd name="T40" fmla="*/ 68680 w 948054"/>
                  <a:gd name="T41" fmla="*/ 1519070 h 2436495"/>
                  <a:gd name="T42" fmla="*/ 156288 w 948054"/>
                  <a:gd name="T43" fmla="*/ 1541806 h 2436495"/>
                  <a:gd name="T44" fmla="*/ 217799 w 948054"/>
                  <a:gd name="T45" fmla="*/ 1544482 h 2436495"/>
                  <a:gd name="T46" fmla="*/ 294023 w 948054"/>
                  <a:gd name="T47" fmla="*/ 1600613 h 2436495"/>
                  <a:gd name="T48" fmla="*/ 311215 w 948054"/>
                  <a:gd name="T49" fmla="*/ 1673153 h 2436495"/>
                  <a:gd name="T50" fmla="*/ 304074 w 948054"/>
                  <a:gd name="T51" fmla="*/ 2029925 h 2436495"/>
                  <a:gd name="T52" fmla="*/ 239898 w 948054"/>
                  <a:gd name="T53" fmla="*/ 2098915 h 2436495"/>
                  <a:gd name="T54" fmla="*/ 166277 w 948054"/>
                  <a:gd name="T55" fmla="*/ 2108040 h 2436495"/>
                  <a:gd name="T56" fmla="*/ 79581 w 948054"/>
                  <a:gd name="T57" fmla="*/ 2134010 h 2436495"/>
                  <a:gd name="T58" fmla="*/ 15998 w 948054"/>
                  <a:gd name="T59" fmla="*/ 2233658 h 2436495"/>
                  <a:gd name="T60" fmla="*/ 15998 w 948054"/>
                  <a:gd name="T61" fmla="*/ 2298509 h 2436495"/>
                  <a:gd name="T62" fmla="*/ 79581 w 948054"/>
                  <a:gd name="T63" fmla="*/ 2405467 h 2436495"/>
                  <a:gd name="T64" fmla="*/ 166277 w 948054"/>
                  <a:gd name="T65" fmla="*/ 2436292 h 2436495"/>
                  <a:gd name="T66" fmla="*/ 381180 w 948054"/>
                  <a:gd name="T67" fmla="*/ 2427407 h 2436495"/>
                  <a:gd name="T68" fmla="*/ 495083 w 948054"/>
                  <a:gd name="T69" fmla="*/ 2375209 h 2436495"/>
                  <a:gd name="T70" fmla="*/ 581788 w 948054"/>
                  <a:gd name="T71" fmla="*/ 2288016 h 2436495"/>
                  <a:gd name="T72" fmla="*/ 632161 w 948054"/>
                  <a:gd name="T73" fmla="*/ 2174440 h 2436495"/>
                  <a:gd name="T74" fmla="*/ 639467 w 948054"/>
                  <a:gd name="T75" fmla="*/ 1639887 h 2436495"/>
                  <a:gd name="T76" fmla="*/ 663937 w 948054"/>
                  <a:gd name="T77" fmla="*/ 1572559 h 2436495"/>
                  <a:gd name="T78" fmla="*/ 728312 w 948054"/>
                  <a:gd name="T79" fmla="*/ 1541806 h 2436495"/>
                  <a:gd name="T80" fmla="*/ 829829 w 948054"/>
                  <a:gd name="T81" fmla="*/ 1539183 h 2436495"/>
                  <a:gd name="T82" fmla="*/ 924409 w 948054"/>
                  <a:gd name="T83" fmla="*/ 1471028 h 2436495"/>
                  <a:gd name="T84" fmla="*/ 947803 w 948054"/>
                  <a:gd name="T85" fmla="*/ 1382575 h 2436495"/>
                  <a:gd name="T86" fmla="*/ 924409 w 948054"/>
                  <a:gd name="T87" fmla="*/ 1299069 h 2436495"/>
                  <a:gd name="T88" fmla="*/ 829829 w 948054"/>
                  <a:gd name="T89" fmla="*/ 1240361 h 2436495"/>
                  <a:gd name="T90" fmla="*/ 761557 w 948054"/>
                  <a:gd name="T91" fmla="*/ 1238171 h 2436495"/>
                  <a:gd name="T92" fmla="*/ 692899 w 948054"/>
                  <a:gd name="T93" fmla="*/ 1215921 h 2436495"/>
                  <a:gd name="T94" fmla="*/ 641414 w 948054"/>
                  <a:gd name="T95" fmla="*/ 1133680 h 2436495"/>
                  <a:gd name="T96" fmla="*/ 639467 w 948054"/>
                  <a:gd name="T97" fmla="*/ 894601 h 2436495"/>
                  <a:gd name="T98" fmla="*/ 692795 w 948054"/>
                  <a:gd name="T99" fmla="*/ 809881 h 2436495"/>
                  <a:gd name="T100" fmla="*/ 798143 w 948054"/>
                  <a:gd name="T101" fmla="*/ 803242 h 2436495"/>
                  <a:gd name="T102" fmla="*/ 883871 w 948054"/>
                  <a:gd name="T103" fmla="*/ 775381 h 2436495"/>
                  <a:gd name="T104" fmla="*/ 945201 w 948054"/>
                  <a:gd name="T105" fmla="*/ 671166 h 2436495"/>
                  <a:gd name="T106" fmla="*/ 945201 w 948054"/>
                  <a:gd name="T107" fmla="*/ 606801 h 2436495"/>
                  <a:gd name="T108" fmla="*/ 883871 w 948054"/>
                  <a:gd name="T109" fmla="*/ 509163 h 2436495"/>
                  <a:gd name="T110" fmla="*/ 798143 w 948054"/>
                  <a:gd name="T111" fmla="*/ 483189 h 2436495"/>
                  <a:gd name="T112" fmla="*/ 736319 w 948054"/>
                  <a:gd name="T113" fmla="*/ 481351 h 2436495"/>
                  <a:gd name="T114" fmla="*/ 658228 w 948054"/>
                  <a:gd name="T115" fmla="*/ 430568 h 2436495"/>
                  <a:gd name="T116" fmla="*/ 639467 w 948054"/>
                  <a:gd name="T117" fmla="*/ 362502 h 2436495"/>
                  <a:gd name="T118" fmla="*/ 636219 w 948054"/>
                  <a:gd name="T119" fmla="*/ 124412 h 2436495"/>
                  <a:gd name="T120" fmla="*/ 566059 w 948054"/>
                  <a:gd name="T121" fmla="*/ 25254 h 2436495"/>
                  <a:gd name="T122" fmla="*/ 476634 w 948054"/>
                  <a:gd name="T123" fmla="*/ 0 h 2436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48054" h="2436495">
                    <a:moveTo>
                      <a:pt x="476634" y="0"/>
                    </a:moveTo>
                    <a:lnTo>
                      <a:pt x="413225" y="11223"/>
                    </a:lnTo>
                    <a:lnTo>
                      <a:pt x="360669" y="44899"/>
                    </a:lnTo>
                    <a:lnTo>
                      <a:pt x="324716" y="95209"/>
                    </a:lnTo>
                    <a:lnTo>
                      <a:pt x="311215" y="156309"/>
                    </a:lnTo>
                    <a:lnTo>
                      <a:pt x="311215" y="362502"/>
                    </a:lnTo>
                    <a:lnTo>
                      <a:pt x="309555" y="387630"/>
                    </a:lnTo>
                    <a:lnTo>
                      <a:pt x="294023" y="430568"/>
                    </a:lnTo>
                    <a:lnTo>
                      <a:pt x="259931" y="465020"/>
                    </a:lnTo>
                    <a:lnTo>
                      <a:pt x="217799" y="481351"/>
                    </a:lnTo>
                    <a:lnTo>
                      <a:pt x="192884" y="483189"/>
                    </a:lnTo>
                    <a:lnTo>
                      <a:pt x="156288" y="483189"/>
                    </a:lnTo>
                    <a:lnTo>
                      <a:pt x="124373" y="486440"/>
                    </a:lnTo>
                    <a:lnTo>
                      <a:pt x="68680" y="510842"/>
                    </a:lnTo>
                    <a:lnTo>
                      <a:pt x="25245" y="554948"/>
                    </a:lnTo>
                    <a:lnTo>
                      <a:pt x="2804" y="611639"/>
                    </a:lnTo>
                    <a:lnTo>
                      <a:pt x="0" y="643760"/>
                    </a:lnTo>
                    <a:lnTo>
                      <a:pt x="2804" y="675928"/>
                    </a:lnTo>
                    <a:lnTo>
                      <a:pt x="25245" y="732712"/>
                    </a:lnTo>
                    <a:lnTo>
                      <a:pt x="68680" y="776645"/>
                    </a:lnTo>
                    <a:lnTo>
                      <a:pt x="124373" y="800188"/>
                    </a:lnTo>
                    <a:lnTo>
                      <a:pt x="156288" y="803242"/>
                    </a:lnTo>
                    <a:lnTo>
                      <a:pt x="192884" y="803242"/>
                    </a:lnTo>
                    <a:lnTo>
                      <a:pt x="217799" y="805393"/>
                    </a:lnTo>
                    <a:lnTo>
                      <a:pt x="259931" y="823085"/>
                    </a:lnTo>
                    <a:lnTo>
                      <a:pt x="294023" y="858157"/>
                    </a:lnTo>
                    <a:lnTo>
                      <a:pt x="309555" y="902445"/>
                    </a:lnTo>
                    <a:lnTo>
                      <a:pt x="311215" y="927856"/>
                    </a:lnTo>
                    <a:lnTo>
                      <a:pt x="311215" y="1107788"/>
                    </a:lnTo>
                    <a:lnTo>
                      <a:pt x="304074" y="1157861"/>
                    </a:lnTo>
                    <a:lnTo>
                      <a:pt x="278651" y="1199586"/>
                    </a:lnTo>
                    <a:lnTo>
                      <a:pt x="239898" y="1228039"/>
                    </a:lnTo>
                    <a:lnTo>
                      <a:pt x="192884" y="1238171"/>
                    </a:lnTo>
                    <a:lnTo>
                      <a:pt x="156288" y="1238171"/>
                    </a:lnTo>
                    <a:lnTo>
                      <a:pt x="124373" y="1240664"/>
                    </a:lnTo>
                    <a:lnTo>
                      <a:pt x="68680" y="1261734"/>
                    </a:lnTo>
                    <a:lnTo>
                      <a:pt x="25245" y="1304709"/>
                    </a:lnTo>
                    <a:lnTo>
                      <a:pt x="2804" y="1359734"/>
                    </a:lnTo>
                    <a:lnTo>
                      <a:pt x="0" y="1391475"/>
                    </a:lnTo>
                    <a:lnTo>
                      <a:pt x="2804" y="1422928"/>
                    </a:lnTo>
                    <a:lnTo>
                      <a:pt x="25245" y="1476566"/>
                    </a:lnTo>
                    <a:lnTo>
                      <a:pt x="68680" y="1519070"/>
                    </a:lnTo>
                    <a:lnTo>
                      <a:pt x="124373" y="1539467"/>
                    </a:lnTo>
                    <a:lnTo>
                      <a:pt x="156288" y="1541806"/>
                    </a:lnTo>
                    <a:lnTo>
                      <a:pt x="192884" y="1541806"/>
                    </a:lnTo>
                    <a:lnTo>
                      <a:pt x="217799" y="1544482"/>
                    </a:lnTo>
                    <a:lnTo>
                      <a:pt x="259931" y="1564485"/>
                    </a:lnTo>
                    <a:lnTo>
                      <a:pt x="294023" y="1600613"/>
                    </a:lnTo>
                    <a:lnTo>
                      <a:pt x="309555" y="1647216"/>
                    </a:lnTo>
                    <a:lnTo>
                      <a:pt x="311215" y="1673153"/>
                    </a:lnTo>
                    <a:lnTo>
                      <a:pt x="311215" y="1983363"/>
                    </a:lnTo>
                    <a:lnTo>
                      <a:pt x="304074" y="2029925"/>
                    </a:lnTo>
                    <a:lnTo>
                      <a:pt x="278651" y="2070659"/>
                    </a:lnTo>
                    <a:lnTo>
                      <a:pt x="239898" y="2098915"/>
                    </a:lnTo>
                    <a:lnTo>
                      <a:pt x="192884" y="2108040"/>
                    </a:lnTo>
                    <a:lnTo>
                      <a:pt x="166277" y="2108040"/>
                    </a:lnTo>
                    <a:lnTo>
                      <a:pt x="134452" y="2110978"/>
                    </a:lnTo>
                    <a:lnTo>
                      <a:pt x="79581" y="2134010"/>
                    </a:lnTo>
                    <a:lnTo>
                      <a:pt x="37611" y="2177657"/>
                    </a:lnTo>
                    <a:lnTo>
                      <a:pt x="15998" y="2233658"/>
                    </a:lnTo>
                    <a:lnTo>
                      <a:pt x="13298" y="2265627"/>
                    </a:lnTo>
                    <a:lnTo>
                      <a:pt x="15998" y="2298509"/>
                    </a:lnTo>
                    <a:lnTo>
                      <a:pt x="37611" y="2358836"/>
                    </a:lnTo>
                    <a:lnTo>
                      <a:pt x="79581" y="2405467"/>
                    </a:lnTo>
                    <a:lnTo>
                      <a:pt x="134452" y="2432526"/>
                    </a:lnTo>
                    <a:lnTo>
                      <a:pt x="166277" y="2436292"/>
                    </a:lnTo>
                    <a:lnTo>
                      <a:pt x="319257" y="2436292"/>
                    </a:lnTo>
                    <a:lnTo>
                      <a:pt x="381180" y="2427407"/>
                    </a:lnTo>
                    <a:lnTo>
                      <a:pt x="440646" y="2406052"/>
                    </a:lnTo>
                    <a:lnTo>
                      <a:pt x="495083" y="2375209"/>
                    </a:lnTo>
                    <a:lnTo>
                      <a:pt x="542067" y="2335216"/>
                    </a:lnTo>
                    <a:lnTo>
                      <a:pt x="581788" y="2288016"/>
                    </a:lnTo>
                    <a:lnTo>
                      <a:pt x="612400" y="2234109"/>
                    </a:lnTo>
                    <a:lnTo>
                      <a:pt x="632161" y="2174440"/>
                    </a:lnTo>
                    <a:lnTo>
                      <a:pt x="639467" y="2109736"/>
                    </a:lnTo>
                    <a:lnTo>
                      <a:pt x="639467" y="1639887"/>
                    </a:lnTo>
                    <a:lnTo>
                      <a:pt x="640792" y="1621739"/>
                    </a:lnTo>
                    <a:lnTo>
                      <a:pt x="663937" y="1572559"/>
                    </a:lnTo>
                    <a:lnTo>
                      <a:pt x="709522" y="1543967"/>
                    </a:lnTo>
                    <a:lnTo>
                      <a:pt x="728312" y="1541806"/>
                    </a:lnTo>
                    <a:lnTo>
                      <a:pt x="798143" y="1541806"/>
                    </a:lnTo>
                    <a:lnTo>
                      <a:pt x="829829" y="1539183"/>
                    </a:lnTo>
                    <a:lnTo>
                      <a:pt x="883871" y="1516786"/>
                    </a:lnTo>
                    <a:lnTo>
                      <a:pt x="924409" y="1471028"/>
                    </a:lnTo>
                    <a:lnTo>
                      <a:pt x="945201" y="1414514"/>
                    </a:lnTo>
                    <a:lnTo>
                      <a:pt x="947803" y="1382575"/>
                    </a:lnTo>
                    <a:lnTo>
                      <a:pt x="945201" y="1351300"/>
                    </a:lnTo>
                    <a:lnTo>
                      <a:pt x="924409" y="1299069"/>
                    </a:lnTo>
                    <a:lnTo>
                      <a:pt x="883871" y="1259348"/>
                    </a:lnTo>
                    <a:lnTo>
                      <a:pt x="829829" y="1240361"/>
                    </a:lnTo>
                    <a:lnTo>
                      <a:pt x="798143" y="1238171"/>
                    </a:lnTo>
                    <a:lnTo>
                      <a:pt x="761557" y="1238171"/>
                    </a:lnTo>
                    <a:lnTo>
                      <a:pt x="736319" y="1235578"/>
                    </a:lnTo>
                    <a:lnTo>
                      <a:pt x="692899" y="1215921"/>
                    </a:lnTo>
                    <a:lnTo>
                      <a:pt x="658228" y="1179955"/>
                    </a:lnTo>
                    <a:lnTo>
                      <a:pt x="641414" y="1133680"/>
                    </a:lnTo>
                    <a:lnTo>
                      <a:pt x="639467" y="1107788"/>
                    </a:lnTo>
                    <a:lnTo>
                      <a:pt x="639467" y="894601"/>
                    </a:lnTo>
                    <a:lnTo>
                      <a:pt x="652618" y="845152"/>
                    </a:lnTo>
                    <a:lnTo>
                      <a:pt x="692795" y="809881"/>
                    </a:lnTo>
                    <a:lnTo>
                      <a:pt x="728312" y="803242"/>
                    </a:lnTo>
                    <a:lnTo>
                      <a:pt x="798143" y="803242"/>
                    </a:lnTo>
                    <a:lnTo>
                      <a:pt x="829829" y="800092"/>
                    </a:lnTo>
                    <a:lnTo>
                      <a:pt x="883871" y="775381"/>
                    </a:lnTo>
                    <a:lnTo>
                      <a:pt x="924409" y="728839"/>
                    </a:lnTo>
                    <a:lnTo>
                      <a:pt x="945201" y="671166"/>
                    </a:lnTo>
                    <a:lnTo>
                      <a:pt x="947803" y="638964"/>
                    </a:lnTo>
                    <a:lnTo>
                      <a:pt x="945201" y="606801"/>
                    </a:lnTo>
                    <a:lnTo>
                      <a:pt x="924409" y="550660"/>
                    </a:lnTo>
                    <a:lnTo>
                      <a:pt x="883871" y="509163"/>
                    </a:lnTo>
                    <a:lnTo>
                      <a:pt x="829829" y="486267"/>
                    </a:lnTo>
                    <a:lnTo>
                      <a:pt x="798143" y="483189"/>
                    </a:lnTo>
                    <a:lnTo>
                      <a:pt x="761557" y="483189"/>
                    </a:lnTo>
                    <a:lnTo>
                      <a:pt x="736319" y="481351"/>
                    </a:lnTo>
                    <a:lnTo>
                      <a:pt x="692899" y="465020"/>
                    </a:lnTo>
                    <a:lnTo>
                      <a:pt x="658228" y="430568"/>
                    </a:lnTo>
                    <a:lnTo>
                      <a:pt x="641414" y="387630"/>
                    </a:lnTo>
                    <a:lnTo>
                      <a:pt x="639467" y="362502"/>
                    </a:lnTo>
                    <a:lnTo>
                      <a:pt x="639467" y="156309"/>
                    </a:lnTo>
                    <a:lnTo>
                      <a:pt x="636219" y="124412"/>
                    </a:lnTo>
                    <a:lnTo>
                      <a:pt x="611465" y="68703"/>
                    </a:lnTo>
                    <a:lnTo>
                      <a:pt x="566059" y="25254"/>
                    </a:lnTo>
                    <a:lnTo>
                      <a:pt x="508792" y="2805"/>
                    </a:lnTo>
                    <a:lnTo>
                      <a:pt x="476634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1" name="object 8"/>
              <p:cNvSpPr>
                <a:spLocks noChangeArrowheads="1"/>
              </p:cNvSpPr>
              <p:nvPr userDrawn="1"/>
            </p:nvSpPr>
            <p:spPr bwMode="auto">
              <a:xfrm>
                <a:off x="12174538" y="3443288"/>
                <a:ext cx="2033587" cy="2806700"/>
              </a:xfrm>
              <a:custGeom>
                <a:avLst/>
                <a:gdLst>
                  <a:gd name="T0" fmla="*/ 1609966 w 2033905"/>
                  <a:gd name="T1" fmla="*/ 2058797 h 2806700"/>
                  <a:gd name="T2" fmla="*/ 1609991 w 2033905"/>
                  <a:gd name="T3" fmla="*/ 2362441 h 2806700"/>
                  <a:gd name="T4" fmla="*/ 1578444 w 2033905"/>
                  <a:gd name="T5" fmla="*/ 2062302 h 2806700"/>
                  <a:gd name="T6" fmla="*/ 1485773 w 2033905"/>
                  <a:gd name="T7" fmla="*/ 2294763 h 2806700"/>
                  <a:gd name="T8" fmla="*/ 1732178 w 2033905"/>
                  <a:gd name="T9" fmla="*/ 2295194 h 2806700"/>
                  <a:gd name="T10" fmla="*/ 1939251 w 2033905"/>
                  <a:gd name="T11" fmla="*/ 1193800 h 2806700"/>
                  <a:gd name="T12" fmla="*/ 1766900 w 2033905"/>
                  <a:gd name="T13" fmla="*/ 1130300 h 2806700"/>
                  <a:gd name="T14" fmla="*/ 1730527 w 2033905"/>
                  <a:gd name="T15" fmla="*/ 952500 h 2806700"/>
                  <a:gd name="T16" fmla="*/ 1544942 w 2033905"/>
                  <a:gd name="T17" fmla="*/ 749300 h 2806700"/>
                  <a:gd name="T18" fmla="*/ 1437030 w 2033905"/>
                  <a:gd name="T19" fmla="*/ 1600200 h 2806700"/>
                  <a:gd name="T20" fmla="*/ 1204328 w 2033905"/>
                  <a:gd name="T21" fmla="*/ 1612900 h 2806700"/>
                  <a:gd name="T22" fmla="*/ 1193482 w 2033905"/>
                  <a:gd name="T23" fmla="*/ 1524000 h 2806700"/>
                  <a:gd name="T24" fmla="*/ 1420291 w 2033905"/>
                  <a:gd name="T25" fmla="*/ 1485900 h 2806700"/>
                  <a:gd name="T26" fmla="*/ 1439456 w 2033905"/>
                  <a:gd name="T27" fmla="*/ 736600 h 2806700"/>
                  <a:gd name="T28" fmla="*/ 1423530 w 2033905"/>
                  <a:gd name="T29" fmla="*/ 1181100 h 2806700"/>
                  <a:gd name="T30" fmla="*/ 1193139 w 2033905"/>
                  <a:gd name="T31" fmla="*/ 1130300 h 2806700"/>
                  <a:gd name="T32" fmla="*/ 1211541 w 2033905"/>
                  <a:gd name="T33" fmla="*/ 1054100 h 2806700"/>
                  <a:gd name="T34" fmla="*/ 1439329 w 2033905"/>
                  <a:gd name="T35" fmla="*/ 736600 h 2806700"/>
                  <a:gd name="T36" fmla="*/ 1194003 w 2033905"/>
                  <a:gd name="T37" fmla="*/ 685800 h 2806700"/>
                  <a:gd name="T38" fmla="*/ 1794687 w 2033905"/>
                  <a:gd name="T39" fmla="*/ 571500 h 2806700"/>
                  <a:gd name="T40" fmla="*/ 1914436 w 2033905"/>
                  <a:gd name="T41" fmla="*/ 457200 h 2806700"/>
                  <a:gd name="T42" fmla="*/ 1276794 w 2033905"/>
                  <a:gd name="T43" fmla="*/ 266700 h 2806700"/>
                  <a:gd name="T44" fmla="*/ 1194625 w 2033905"/>
                  <a:gd name="T45" fmla="*/ 177800 h 2806700"/>
                  <a:gd name="T46" fmla="*/ 1096949 w 2033905"/>
                  <a:gd name="T47" fmla="*/ 12700 h 2806700"/>
                  <a:gd name="T48" fmla="*/ 905916 w 2033905"/>
                  <a:gd name="T49" fmla="*/ 152400 h 2806700"/>
                  <a:gd name="T50" fmla="*/ 846226 w 2033905"/>
                  <a:gd name="T51" fmla="*/ 254000 h 2806700"/>
                  <a:gd name="T52" fmla="*/ 212852 w 2033905"/>
                  <a:gd name="T53" fmla="*/ 317500 h 2806700"/>
                  <a:gd name="T54" fmla="*/ 181660 w 2033905"/>
                  <a:gd name="T55" fmla="*/ 482600 h 2806700"/>
                  <a:gd name="T56" fmla="*/ 317601 w 2033905"/>
                  <a:gd name="T57" fmla="*/ 584200 h 2806700"/>
                  <a:gd name="T58" fmla="*/ 895604 w 2033905"/>
                  <a:gd name="T59" fmla="*/ 698500 h 2806700"/>
                  <a:gd name="T60" fmla="*/ 452272 w 2033905"/>
                  <a:gd name="T61" fmla="*/ 749300 h 2806700"/>
                  <a:gd name="T62" fmla="*/ 360832 w 2033905"/>
                  <a:gd name="T63" fmla="*/ 889000 h 2806700"/>
                  <a:gd name="T64" fmla="*/ 452272 w 2033905"/>
                  <a:gd name="T65" fmla="*/ 1028700 h 2806700"/>
                  <a:gd name="T66" fmla="*/ 905916 w 2033905"/>
                  <a:gd name="T67" fmla="*/ 1130300 h 2806700"/>
                  <a:gd name="T68" fmla="*/ 285584 w 2033905"/>
                  <a:gd name="T69" fmla="*/ 1193800 h 2806700"/>
                  <a:gd name="T70" fmla="*/ 191223 w 2033905"/>
                  <a:gd name="T71" fmla="*/ 1333500 h 2806700"/>
                  <a:gd name="T72" fmla="*/ 862914 w 2033905"/>
                  <a:gd name="T73" fmla="*/ 1485900 h 2806700"/>
                  <a:gd name="T74" fmla="*/ 905916 w 2033905"/>
                  <a:gd name="T75" fmla="*/ 1524000 h 2806700"/>
                  <a:gd name="T76" fmla="*/ 874191 w 2033905"/>
                  <a:gd name="T77" fmla="*/ 1612900 h 2806700"/>
                  <a:gd name="T78" fmla="*/ 360832 w 2033905"/>
                  <a:gd name="T79" fmla="*/ 1765300 h 2806700"/>
                  <a:gd name="T80" fmla="*/ 510489 w 2033905"/>
                  <a:gd name="T81" fmla="*/ 1905000 h 2806700"/>
                  <a:gd name="T82" fmla="*/ 890612 w 2033905"/>
                  <a:gd name="T83" fmla="*/ 2006600 h 2806700"/>
                  <a:gd name="T84" fmla="*/ 862076 w 2033905"/>
                  <a:gd name="T85" fmla="*/ 2451100 h 2806700"/>
                  <a:gd name="T86" fmla="*/ 654888 w 2033905"/>
                  <a:gd name="T87" fmla="*/ 2463800 h 2806700"/>
                  <a:gd name="T88" fmla="*/ 605624 w 2033905"/>
                  <a:gd name="T89" fmla="*/ 2425700 h 2806700"/>
                  <a:gd name="T90" fmla="*/ 548132 w 2033905"/>
                  <a:gd name="T91" fmla="*/ 2324100 h 2806700"/>
                  <a:gd name="T92" fmla="*/ 584923 w 2033905"/>
                  <a:gd name="T93" fmla="*/ 2133600 h 2806700"/>
                  <a:gd name="T94" fmla="*/ 367487 w 2033905"/>
                  <a:gd name="T95" fmla="*/ 2019300 h 2806700"/>
                  <a:gd name="T96" fmla="*/ 257606 w 2033905"/>
                  <a:gd name="T97" fmla="*/ 2209800 h 2806700"/>
                  <a:gd name="T98" fmla="*/ 100368 w 2033905"/>
                  <a:gd name="T99" fmla="*/ 2476500 h 2806700"/>
                  <a:gd name="T100" fmla="*/ 0 w 2033905"/>
                  <a:gd name="T101" fmla="*/ 2679700 h 2806700"/>
                  <a:gd name="T102" fmla="*/ 217805 w 2033905"/>
                  <a:gd name="T103" fmla="*/ 2794000 h 2806700"/>
                  <a:gd name="T104" fmla="*/ 351167 w 2033905"/>
                  <a:gd name="T105" fmla="*/ 2679700 h 2806700"/>
                  <a:gd name="T106" fmla="*/ 518896 w 2033905"/>
                  <a:gd name="T107" fmla="*/ 2730500 h 2806700"/>
                  <a:gd name="T108" fmla="*/ 1866519 w 2033905"/>
                  <a:gd name="T109" fmla="*/ 2794000 h 2806700"/>
                  <a:gd name="T110" fmla="*/ 1955787 w 2033905"/>
                  <a:gd name="T111" fmla="*/ 2667000 h 2806700"/>
                  <a:gd name="T112" fmla="*/ 1839709 w 2033905"/>
                  <a:gd name="T113" fmla="*/ 2514600 h 2806700"/>
                  <a:gd name="T114" fmla="*/ 1193139 w 2033905"/>
                  <a:gd name="T115" fmla="*/ 2362200 h 2806700"/>
                  <a:gd name="T116" fmla="*/ 1252270 w 2033905"/>
                  <a:gd name="T117" fmla="*/ 1930400 h 2806700"/>
                  <a:gd name="T118" fmla="*/ 1586318 w 2033905"/>
                  <a:gd name="T119" fmla="*/ 1879600 h 2806700"/>
                  <a:gd name="T120" fmla="*/ 1739912 w 2033905"/>
                  <a:gd name="T121" fmla="*/ 1663700 h 2806700"/>
                  <a:gd name="T122" fmla="*/ 1783549 w 2033905"/>
                  <a:gd name="T123" fmla="*/ 1524000 h 2806700"/>
                  <a:gd name="T124" fmla="*/ 1965147 w 2033905"/>
                  <a:gd name="T125" fmla="*/ 1460500 h 2806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3905" h="2806700">
                    <a:moveTo>
                      <a:pt x="1609966" y="2058797"/>
                    </a:moveTo>
                    <a:lnTo>
                      <a:pt x="1605572" y="2058797"/>
                    </a:lnTo>
                    <a:lnTo>
                      <a:pt x="1606638" y="2058936"/>
                    </a:lnTo>
                    <a:lnTo>
                      <a:pt x="1607756" y="2058962"/>
                    </a:lnTo>
                    <a:lnTo>
                      <a:pt x="1608899" y="2058936"/>
                    </a:lnTo>
                    <a:lnTo>
                      <a:pt x="1609966" y="2058797"/>
                    </a:lnTo>
                    <a:close/>
                  </a:path>
                  <a:path w="2033905" h="2806700">
                    <a:moveTo>
                      <a:pt x="1609991" y="2362441"/>
                    </a:moveTo>
                    <a:lnTo>
                      <a:pt x="1608937" y="2362301"/>
                    </a:lnTo>
                    <a:lnTo>
                      <a:pt x="1607807" y="2362289"/>
                    </a:lnTo>
                    <a:lnTo>
                      <a:pt x="1606677" y="2362301"/>
                    </a:lnTo>
                    <a:lnTo>
                      <a:pt x="1605597" y="2362441"/>
                    </a:lnTo>
                    <a:lnTo>
                      <a:pt x="1609991" y="2362441"/>
                    </a:lnTo>
                    <a:close/>
                  </a:path>
                  <a:path w="2033905" h="2806700">
                    <a:moveTo>
                      <a:pt x="1757438" y="2208123"/>
                    </a:moveTo>
                    <a:lnTo>
                      <a:pt x="1746211" y="2151672"/>
                    </a:lnTo>
                    <a:lnTo>
                      <a:pt x="1712544" y="2103526"/>
                    </a:lnTo>
                    <a:lnTo>
                      <a:pt x="1664474" y="2071039"/>
                    </a:lnTo>
                    <a:lnTo>
                      <a:pt x="1607756" y="2058962"/>
                    </a:lnTo>
                    <a:lnTo>
                      <a:pt x="1578444" y="2062302"/>
                    </a:lnTo>
                    <a:lnTo>
                      <a:pt x="1526895" y="2084666"/>
                    </a:lnTo>
                    <a:lnTo>
                      <a:pt x="1485773" y="2126069"/>
                    </a:lnTo>
                    <a:lnTo>
                      <a:pt x="1464157" y="2178037"/>
                    </a:lnTo>
                    <a:lnTo>
                      <a:pt x="1461465" y="2207031"/>
                    </a:lnTo>
                    <a:lnTo>
                      <a:pt x="1464157" y="2239048"/>
                    </a:lnTo>
                    <a:lnTo>
                      <a:pt x="1485773" y="2294763"/>
                    </a:lnTo>
                    <a:lnTo>
                      <a:pt x="1526908" y="2336647"/>
                    </a:lnTo>
                    <a:lnTo>
                      <a:pt x="1578483" y="2358974"/>
                    </a:lnTo>
                    <a:lnTo>
                      <a:pt x="1607807" y="2362289"/>
                    </a:lnTo>
                    <a:lnTo>
                      <a:pt x="1637220" y="2359025"/>
                    </a:lnTo>
                    <a:lnTo>
                      <a:pt x="1689608" y="2336901"/>
                    </a:lnTo>
                    <a:lnTo>
                      <a:pt x="1732178" y="2295194"/>
                    </a:lnTo>
                    <a:lnTo>
                      <a:pt x="1754632" y="2240013"/>
                    </a:lnTo>
                    <a:lnTo>
                      <a:pt x="1757438" y="2208123"/>
                    </a:lnTo>
                    <a:close/>
                  </a:path>
                  <a:path w="2033905" h="2806700">
                    <a:moveTo>
                      <a:pt x="2033638" y="1333500"/>
                    </a:moveTo>
                    <a:lnTo>
                      <a:pt x="2022411" y="1282700"/>
                    </a:lnTo>
                    <a:lnTo>
                      <a:pt x="1988743" y="1231900"/>
                    </a:lnTo>
                    <a:lnTo>
                      <a:pt x="1939251" y="1193800"/>
                    </a:lnTo>
                    <a:lnTo>
                      <a:pt x="1911083" y="1193800"/>
                    </a:lnTo>
                    <a:lnTo>
                      <a:pt x="1880641" y="1181100"/>
                    </a:lnTo>
                    <a:lnTo>
                      <a:pt x="1826272" y="1181100"/>
                    </a:lnTo>
                    <a:lnTo>
                      <a:pt x="1803488" y="1168400"/>
                    </a:lnTo>
                    <a:lnTo>
                      <a:pt x="1783549" y="1143000"/>
                    </a:lnTo>
                    <a:lnTo>
                      <a:pt x="1766900" y="1130300"/>
                    </a:lnTo>
                    <a:lnTo>
                      <a:pt x="1754098" y="1104900"/>
                    </a:lnTo>
                    <a:lnTo>
                      <a:pt x="1745869" y="1079500"/>
                    </a:lnTo>
                    <a:lnTo>
                      <a:pt x="1742960" y="1054100"/>
                    </a:lnTo>
                    <a:lnTo>
                      <a:pt x="1742960" y="1041400"/>
                    </a:lnTo>
                    <a:lnTo>
                      <a:pt x="1739912" y="990600"/>
                    </a:lnTo>
                    <a:lnTo>
                      <a:pt x="1730527" y="952500"/>
                    </a:lnTo>
                    <a:lnTo>
                      <a:pt x="1714411" y="901700"/>
                    </a:lnTo>
                    <a:lnTo>
                      <a:pt x="1691195" y="863600"/>
                    </a:lnTo>
                    <a:lnTo>
                      <a:pt x="1660486" y="825500"/>
                    </a:lnTo>
                    <a:lnTo>
                      <a:pt x="1624698" y="800100"/>
                    </a:lnTo>
                    <a:lnTo>
                      <a:pt x="1586318" y="774700"/>
                    </a:lnTo>
                    <a:lnTo>
                      <a:pt x="1544942" y="749300"/>
                    </a:lnTo>
                    <a:lnTo>
                      <a:pt x="1500174" y="736600"/>
                    </a:lnTo>
                    <a:lnTo>
                      <a:pt x="1439456" y="736600"/>
                    </a:lnTo>
                    <a:lnTo>
                      <a:pt x="1439456" y="1524000"/>
                    </a:lnTo>
                    <a:lnTo>
                      <a:pt x="1439456" y="1587500"/>
                    </a:lnTo>
                    <a:lnTo>
                      <a:pt x="1439062" y="1587500"/>
                    </a:lnTo>
                    <a:lnTo>
                      <a:pt x="1437030" y="1600200"/>
                    </a:lnTo>
                    <a:lnTo>
                      <a:pt x="1432191" y="1612900"/>
                    </a:lnTo>
                    <a:lnTo>
                      <a:pt x="1426070" y="1612900"/>
                    </a:lnTo>
                    <a:lnTo>
                      <a:pt x="1420291" y="1625600"/>
                    </a:lnTo>
                    <a:lnTo>
                      <a:pt x="1218653" y="1625600"/>
                    </a:lnTo>
                    <a:lnTo>
                      <a:pt x="1211541" y="1612900"/>
                    </a:lnTo>
                    <a:lnTo>
                      <a:pt x="1204328" y="1612900"/>
                    </a:lnTo>
                    <a:lnTo>
                      <a:pt x="1198372" y="1600200"/>
                    </a:lnTo>
                    <a:lnTo>
                      <a:pt x="1194993" y="1587500"/>
                    </a:lnTo>
                    <a:lnTo>
                      <a:pt x="1193482" y="1587500"/>
                    </a:lnTo>
                    <a:lnTo>
                      <a:pt x="1193139" y="1574800"/>
                    </a:lnTo>
                    <a:lnTo>
                      <a:pt x="1193139" y="1524000"/>
                    </a:lnTo>
                    <a:lnTo>
                      <a:pt x="1193482" y="1524000"/>
                    </a:lnTo>
                    <a:lnTo>
                      <a:pt x="1194993" y="1511300"/>
                    </a:lnTo>
                    <a:lnTo>
                      <a:pt x="1198372" y="1511300"/>
                    </a:lnTo>
                    <a:lnTo>
                      <a:pt x="1204328" y="1498600"/>
                    </a:lnTo>
                    <a:lnTo>
                      <a:pt x="1211541" y="1498600"/>
                    </a:lnTo>
                    <a:lnTo>
                      <a:pt x="1218653" y="1485900"/>
                    </a:lnTo>
                    <a:lnTo>
                      <a:pt x="1420291" y="1485900"/>
                    </a:lnTo>
                    <a:lnTo>
                      <a:pt x="1426070" y="1498600"/>
                    </a:lnTo>
                    <a:lnTo>
                      <a:pt x="1432191" y="1498600"/>
                    </a:lnTo>
                    <a:lnTo>
                      <a:pt x="1437030" y="1511300"/>
                    </a:lnTo>
                    <a:lnTo>
                      <a:pt x="1439062" y="1511300"/>
                    </a:lnTo>
                    <a:lnTo>
                      <a:pt x="1439456" y="1524000"/>
                    </a:lnTo>
                    <a:lnTo>
                      <a:pt x="1439456" y="736600"/>
                    </a:lnTo>
                    <a:lnTo>
                      <a:pt x="1439329" y="736600"/>
                    </a:lnTo>
                    <a:lnTo>
                      <a:pt x="1439329" y="1092200"/>
                    </a:lnTo>
                    <a:lnTo>
                      <a:pt x="1439329" y="1130300"/>
                    </a:lnTo>
                    <a:lnTo>
                      <a:pt x="1438338" y="1155700"/>
                    </a:lnTo>
                    <a:lnTo>
                      <a:pt x="1433842" y="1168400"/>
                    </a:lnTo>
                    <a:lnTo>
                      <a:pt x="1423530" y="1181100"/>
                    </a:lnTo>
                    <a:lnTo>
                      <a:pt x="1211541" y="1181100"/>
                    </a:lnTo>
                    <a:lnTo>
                      <a:pt x="1204328" y="1168400"/>
                    </a:lnTo>
                    <a:lnTo>
                      <a:pt x="1198372" y="1155700"/>
                    </a:lnTo>
                    <a:lnTo>
                      <a:pt x="1194993" y="1155700"/>
                    </a:lnTo>
                    <a:lnTo>
                      <a:pt x="1193482" y="1143000"/>
                    </a:lnTo>
                    <a:lnTo>
                      <a:pt x="1193139" y="1130300"/>
                    </a:lnTo>
                    <a:lnTo>
                      <a:pt x="1193139" y="1092200"/>
                    </a:lnTo>
                    <a:lnTo>
                      <a:pt x="1193482" y="1079500"/>
                    </a:lnTo>
                    <a:lnTo>
                      <a:pt x="1194993" y="1066800"/>
                    </a:lnTo>
                    <a:lnTo>
                      <a:pt x="1198372" y="1066800"/>
                    </a:lnTo>
                    <a:lnTo>
                      <a:pt x="1204328" y="1054100"/>
                    </a:lnTo>
                    <a:lnTo>
                      <a:pt x="1211541" y="1054100"/>
                    </a:lnTo>
                    <a:lnTo>
                      <a:pt x="1218653" y="1041400"/>
                    </a:lnTo>
                    <a:lnTo>
                      <a:pt x="1423530" y="1041400"/>
                    </a:lnTo>
                    <a:lnTo>
                      <a:pt x="1433842" y="1054100"/>
                    </a:lnTo>
                    <a:lnTo>
                      <a:pt x="1438338" y="1066800"/>
                    </a:lnTo>
                    <a:lnTo>
                      <a:pt x="1439329" y="1092200"/>
                    </a:lnTo>
                    <a:lnTo>
                      <a:pt x="1439329" y="736600"/>
                    </a:lnTo>
                    <a:lnTo>
                      <a:pt x="1236510" y="736600"/>
                    </a:lnTo>
                    <a:lnTo>
                      <a:pt x="1224305" y="723900"/>
                    </a:lnTo>
                    <a:lnTo>
                      <a:pt x="1212646" y="711200"/>
                    </a:lnTo>
                    <a:lnTo>
                      <a:pt x="1203045" y="698500"/>
                    </a:lnTo>
                    <a:lnTo>
                      <a:pt x="1197063" y="698500"/>
                    </a:lnTo>
                    <a:lnTo>
                      <a:pt x="1194003" y="685800"/>
                    </a:lnTo>
                    <a:lnTo>
                      <a:pt x="1193139" y="660400"/>
                    </a:lnTo>
                    <a:lnTo>
                      <a:pt x="1193139" y="647700"/>
                    </a:lnTo>
                    <a:lnTo>
                      <a:pt x="1203045" y="609600"/>
                    </a:lnTo>
                    <a:lnTo>
                      <a:pt x="1224305" y="584200"/>
                    </a:lnTo>
                    <a:lnTo>
                      <a:pt x="1764258" y="584200"/>
                    </a:lnTo>
                    <a:lnTo>
                      <a:pt x="1794687" y="571500"/>
                    </a:lnTo>
                    <a:lnTo>
                      <a:pt x="1822856" y="571500"/>
                    </a:lnTo>
                    <a:lnTo>
                      <a:pt x="1848751" y="546100"/>
                    </a:lnTo>
                    <a:lnTo>
                      <a:pt x="1872335" y="533400"/>
                    </a:lnTo>
                    <a:lnTo>
                      <a:pt x="1891982" y="508000"/>
                    </a:lnTo>
                    <a:lnTo>
                      <a:pt x="1906016" y="482600"/>
                    </a:lnTo>
                    <a:lnTo>
                      <a:pt x="1914436" y="457200"/>
                    </a:lnTo>
                    <a:lnTo>
                      <a:pt x="1917242" y="431800"/>
                    </a:lnTo>
                    <a:lnTo>
                      <a:pt x="1914436" y="393700"/>
                    </a:lnTo>
                    <a:lnTo>
                      <a:pt x="1891982" y="342900"/>
                    </a:lnTo>
                    <a:lnTo>
                      <a:pt x="1848751" y="292100"/>
                    </a:lnTo>
                    <a:lnTo>
                      <a:pt x="1794687" y="266700"/>
                    </a:lnTo>
                    <a:lnTo>
                      <a:pt x="1276794" y="266700"/>
                    </a:lnTo>
                    <a:lnTo>
                      <a:pt x="1257287" y="254000"/>
                    </a:lnTo>
                    <a:lnTo>
                      <a:pt x="1239469" y="254000"/>
                    </a:lnTo>
                    <a:lnTo>
                      <a:pt x="1222616" y="241300"/>
                    </a:lnTo>
                    <a:lnTo>
                      <a:pt x="1208659" y="215900"/>
                    </a:lnTo>
                    <a:lnTo>
                      <a:pt x="1199553" y="203200"/>
                    </a:lnTo>
                    <a:lnTo>
                      <a:pt x="1194625" y="177800"/>
                    </a:lnTo>
                    <a:lnTo>
                      <a:pt x="1193139" y="165100"/>
                    </a:lnTo>
                    <a:lnTo>
                      <a:pt x="1193139" y="152400"/>
                    </a:lnTo>
                    <a:lnTo>
                      <a:pt x="1189837" y="127000"/>
                    </a:lnTo>
                    <a:lnTo>
                      <a:pt x="1180426" y="88900"/>
                    </a:lnTo>
                    <a:lnTo>
                      <a:pt x="1146136" y="38100"/>
                    </a:lnTo>
                    <a:lnTo>
                      <a:pt x="1096949" y="12700"/>
                    </a:lnTo>
                    <a:lnTo>
                      <a:pt x="1068451" y="0"/>
                    </a:lnTo>
                    <a:lnTo>
                      <a:pt x="1008849" y="0"/>
                    </a:lnTo>
                    <a:lnTo>
                      <a:pt x="961732" y="25400"/>
                    </a:lnTo>
                    <a:lnTo>
                      <a:pt x="922743" y="63500"/>
                    </a:lnTo>
                    <a:lnTo>
                      <a:pt x="907237" y="127000"/>
                    </a:lnTo>
                    <a:lnTo>
                      <a:pt x="905916" y="152400"/>
                    </a:lnTo>
                    <a:lnTo>
                      <a:pt x="905916" y="165100"/>
                    </a:lnTo>
                    <a:lnTo>
                      <a:pt x="902411" y="177800"/>
                    </a:lnTo>
                    <a:lnTo>
                      <a:pt x="893102" y="203200"/>
                    </a:lnTo>
                    <a:lnTo>
                      <a:pt x="879856" y="215900"/>
                    </a:lnTo>
                    <a:lnTo>
                      <a:pt x="864501" y="241300"/>
                    </a:lnTo>
                    <a:lnTo>
                      <a:pt x="846226" y="254000"/>
                    </a:lnTo>
                    <a:lnTo>
                      <a:pt x="824255" y="254000"/>
                    </a:lnTo>
                    <a:lnTo>
                      <a:pt x="800404" y="266700"/>
                    </a:lnTo>
                    <a:lnTo>
                      <a:pt x="287350" y="266700"/>
                    </a:lnTo>
                    <a:lnTo>
                      <a:pt x="259816" y="279400"/>
                    </a:lnTo>
                    <a:lnTo>
                      <a:pt x="234975" y="292100"/>
                    </a:lnTo>
                    <a:lnTo>
                      <a:pt x="212852" y="317500"/>
                    </a:lnTo>
                    <a:lnTo>
                      <a:pt x="194640" y="330200"/>
                    </a:lnTo>
                    <a:lnTo>
                      <a:pt x="181660" y="368300"/>
                    </a:lnTo>
                    <a:lnTo>
                      <a:pt x="173875" y="393700"/>
                    </a:lnTo>
                    <a:lnTo>
                      <a:pt x="171284" y="419100"/>
                    </a:lnTo>
                    <a:lnTo>
                      <a:pt x="173875" y="457200"/>
                    </a:lnTo>
                    <a:lnTo>
                      <a:pt x="181660" y="482600"/>
                    </a:lnTo>
                    <a:lnTo>
                      <a:pt x="194640" y="508000"/>
                    </a:lnTo>
                    <a:lnTo>
                      <a:pt x="212852" y="533400"/>
                    </a:lnTo>
                    <a:lnTo>
                      <a:pt x="234975" y="546100"/>
                    </a:lnTo>
                    <a:lnTo>
                      <a:pt x="259816" y="571500"/>
                    </a:lnTo>
                    <a:lnTo>
                      <a:pt x="287350" y="571500"/>
                    </a:lnTo>
                    <a:lnTo>
                      <a:pt x="317601" y="584200"/>
                    </a:lnTo>
                    <a:lnTo>
                      <a:pt x="861187" y="584200"/>
                    </a:lnTo>
                    <a:lnTo>
                      <a:pt x="895604" y="622300"/>
                    </a:lnTo>
                    <a:lnTo>
                      <a:pt x="905916" y="647700"/>
                    </a:lnTo>
                    <a:lnTo>
                      <a:pt x="905916" y="660400"/>
                    </a:lnTo>
                    <a:lnTo>
                      <a:pt x="903033" y="685800"/>
                    </a:lnTo>
                    <a:lnTo>
                      <a:pt x="895604" y="698500"/>
                    </a:lnTo>
                    <a:lnTo>
                      <a:pt x="885469" y="698500"/>
                    </a:lnTo>
                    <a:lnTo>
                      <a:pt x="874483" y="711200"/>
                    </a:lnTo>
                    <a:lnTo>
                      <a:pt x="861187" y="723900"/>
                    </a:lnTo>
                    <a:lnTo>
                      <a:pt x="844194" y="736600"/>
                    </a:lnTo>
                    <a:lnTo>
                      <a:pt x="480136" y="736600"/>
                    </a:lnTo>
                    <a:lnTo>
                      <a:pt x="452272" y="749300"/>
                    </a:lnTo>
                    <a:lnTo>
                      <a:pt x="426910" y="762000"/>
                    </a:lnTo>
                    <a:lnTo>
                      <a:pt x="404063" y="787400"/>
                    </a:lnTo>
                    <a:lnTo>
                      <a:pt x="385140" y="800100"/>
                    </a:lnTo>
                    <a:lnTo>
                      <a:pt x="371640" y="825500"/>
                    </a:lnTo>
                    <a:lnTo>
                      <a:pt x="363537" y="863600"/>
                    </a:lnTo>
                    <a:lnTo>
                      <a:pt x="360832" y="889000"/>
                    </a:lnTo>
                    <a:lnTo>
                      <a:pt x="363537" y="914400"/>
                    </a:lnTo>
                    <a:lnTo>
                      <a:pt x="371640" y="952500"/>
                    </a:lnTo>
                    <a:lnTo>
                      <a:pt x="385140" y="977900"/>
                    </a:lnTo>
                    <a:lnTo>
                      <a:pt x="404063" y="990600"/>
                    </a:lnTo>
                    <a:lnTo>
                      <a:pt x="426910" y="1016000"/>
                    </a:lnTo>
                    <a:lnTo>
                      <a:pt x="452272" y="1028700"/>
                    </a:lnTo>
                    <a:lnTo>
                      <a:pt x="480136" y="1041400"/>
                    </a:lnTo>
                    <a:lnTo>
                      <a:pt x="863155" y="1041400"/>
                    </a:lnTo>
                    <a:lnTo>
                      <a:pt x="884453" y="1054100"/>
                    </a:lnTo>
                    <a:lnTo>
                      <a:pt x="899934" y="1066800"/>
                    </a:lnTo>
                    <a:lnTo>
                      <a:pt x="905916" y="1092200"/>
                    </a:lnTo>
                    <a:lnTo>
                      <a:pt x="905916" y="1130300"/>
                    </a:lnTo>
                    <a:lnTo>
                      <a:pt x="899934" y="1155700"/>
                    </a:lnTo>
                    <a:lnTo>
                      <a:pt x="884453" y="1168400"/>
                    </a:lnTo>
                    <a:lnTo>
                      <a:pt x="863155" y="1181100"/>
                    </a:lnTo>
                    <a:lnTo>
                      <a:pt x="344208" y="1181100"/>
                    </a:lnTo>
                    <a:lnTo>
                      <a:pt x="313753" y="1193800"/>
                    </a:lnTo>
                    <a:lnTo>
                      <a:pt x="285584" y="1193800"/>
                    </a:lnTo>
                    <a:lnTo>
                      <a:pt x="259715" y="1206500"/>
                    </a:lnTo>
                    <a:lnTo>
                      <a:pt x="236131" y="1231900"/>
                    </a:lnTo>
                    <a:lnTo>
                      <a:pt x="216484" y="1244600"/>
                    </a:lnTo>
                    <a:lnTo>
                      <a:pt x="202450" y="1270000"/>
                    </a:lnTo>
                    <a:lnTo>
                      <a:pt x="194030" y="1308100"/>
                    </a:lnTo>
                    <a:lnTo>
                      <a:pt x="191223" y="1333500"/>
                    </a:lnTo>
                    <a:lnTo>
                      <a:pt x="194030" y="1358900"/>
                    </a:lnTo>
                    <a:lnTo>
                      <a:pt x="202450" y="1397000"/>
                    </a:lnTo>
                    <a:lnTo>
                      <a:pt x="236131" y="1447800"/>
                    </a:lnTo>
                    <a:lnTo>
                      <a:pt x="285584" y="1473200"/>
                    </a:lnTo>
                    <a:lnTo>
                      <a:pt x="313753" y="1485900"/>
                    </a:lnTo>
                    <a:lnTo>
                      <a:pt x="862914" y="1485900"/>
                    </a:lnTo>
                    <a:lnTo>
                      <a:pt x="874191" y="1498600"/>
                    </a:lnTo>
                    <a:lnTo>
                      <a:pt x="882802" y="1498600"/>
                    </a:lnTo>
                    <a:lnTo>
                      <a:pt x="890130" y="1511300"/>
                    </a:lnTo>
                    <a:lnTo>
                      <a:pt x="897674" y="1511300"/>
                    </a:lnTo>
                    <a:lnTo>
                      <a:pt x="903554" y="1524000"/>
                    </a:lnTo>
                    <a:lnTo>
                      <a:pt x="905916" y="1524000"/>
                    </a:lnTo>
                    <a:lnTo>
                      <a:pt x="905916" y="1574800"/>
                    </a:lnTo>
                    <a:lnTo>
                      <a:pt x="903554" y="1587500"/>
                    </a:lnTo>
                    <a:lnTo>
                      <a:pt x="897674" y="1587500"/>
                    </a:lnTo>
                    <a:lnTo>
                      <a:pt x="890130" y="1600200"/>
                    </a:lnTo>
                    <a:lnTo>
                      <a:pt x="882802" y="1612900"/>
                    </a:lnTo>
                    <a:lnTo>
                      <a:pt x="874191" y="1612900"/>
                    </a:lnTo>
                    <a:lnTo>
                      <a:pt x="862914" y="1625600"/>
                    </a:lnTo>
                    <a:lnTo>
                      <a:pt x="480136" y="1625600"/>
                    </a:lnTo>
                    <a:lnTo>
                      <a:pt x="452272" y="1638300"/>
                    </a:lnTo>
                    <a:lnTo>
                      <a:pt x="404063" y="1663700"/>
                    </a:lnTo>
                    <a:lnTo>
                      <a:pt x="371640" y="1714500"/>
                    </a:lnTo>
                    <a:lnTo>
                      <a:pt x="360832" y="1765300"/>
                    </a:lnTo>
                    <a:lnTo>
                      <a:pt x="363537" y="1790700"/>
                    </a:lnTo>
                    <a:lnTo>
                      <a:pt x="385140" y="1841500"/>
                    </a:lnTo>
                    <a:lnTo>
                      <a:pt x="426910" y="1879600"/>
                    </a:lnTo>
                    <a:lnTo>
                      <a:pt x="452272" y="1892300"/>
                    </a:lnTo>
                    <a:lnTo>
                      <a:pt x="480136" y="1892300"/>
                    </a:lnTo>
                    <a:lnTo>
                      <a:pt x="510489" y="1905000"/>
                    </a:lnTo>
                    <a:lnTo>
                      <a:pt x="773595" y="1905000"/>
                    </a:lnTo>
                    <a:lnTo>
                      <a:pt x="803465" y="1917700"/>
                    </a:lnTo>
                    <a:lnTo>
                      <a:pt x="831049" y="1930400"/>
                    </a:lnTo>
                    <a:lnTo>
                      <a:pt x="854532" y="1955800"/>
                    </a:lnTo>
                    <a:lnTo>
                      <a:pt x="874242" y="1968500"/>
                    </a:lnTo>
                    <a:lnTo>
                      <a:pt x="890612" y="2006600"/>
                    </a:lnTo>
                    <a:lnTo>
                      <a:pt x="901788" y="2032000"/>
                    </a:lnTo>
                    <a:lnTo>
                      <a:pt x="905916" y="2057400"/>
                    </a:lnTo>
                    <a:lnTo>
                      <a:pt x="905916" y="2349500"/>
                    </a:lnTo>
                    <a:lnTo>
                      <a:pt x="900430" y="2387600"/>
                    </a:lnTo>
                    <a:lnTo>
                      <a:pt x="885202" y="2425700"/>
                    </a:lnTo>
                    <a:lnTo>
                      <a:pt x="862076" y="2451100"/>
                    </a:lnTo>
                    <a:lnTo>
                      <a:pt x="832916" y="2463800"/>
                    </a:lnTo>
                    <a:lnTo>
                      <a:pt x="797433" y="2489200"/>
                    </a:lnTo>
                    <a:lnTo>
                      <a:pt x="725881" y="2489200"/>
                    </a:lnTo>
                    <a:lnTo>
                      <a:pt x="691654" y="2476500"/>
                    </a:lnTo>
                    <a:lnTo>
                      <a:pt x="673684" y="2476500"/>
                    </a:lnTo>
                    <a:lnTo>
                      <a:pt x="654888" y="2463800"/>
                    </a:lnTo>
                    <a:lnTo>
                      <a:pt x="648131" y="2463800"/>
                    </a:lnTo>
                    <a:lnTo>
                      <a:pt x="641413" y="2451100"/>
                    </a:lnTo>
                    <a:lnTo>
                      <a:pt x="625944" y="2451100"/>
                    </a:lnTo>
                    <a:lnTo>
                      <a:pt x="620864" y="2438400"/>
                    </a:lnTo>
                    <a:lnTo>
                      <a:pt x="610730" y="2438400"/>
                    </a:lnTo>
                    <a:lnTo>
                      <a:pt x="605624" y="2425700"/>
                    </a:lnTo>
                    <a:lnTo>
                      <a:pt x="600583" y="2425700"/>
                    </a:lnTo>
                    <a:lnTo>
                      <a:pt x="583819" y="2400300"/>
                    </a:lnTo>
                    <a:lnTo>
                      <a:pt x="570141" y="2387600"/>
                    </a:lnTo>
                    <a:lnTo>
                      <a:pt x="559600" y="2362200"/>
                    </a:lnTo>
                    <a:lnTo>
                      <a:pt x="552208" y="2349500"/>
                    </a:lnTo>
                    <a:lnTo>
                      <a:pt x="548132" y="2324100"/>
                    </a:lnTo>
                    <a:lnTo>
                      <a:pt x="547585" y="2298700"/>
                    </a:lnTo>
                    <a:lnTo>
                      <a:pt x="550583" y="2273300"/>
                    </a:lnTo>
                    <a:lnTo>
                      <a:pt x="557136" y="2247900"/>
                    </a:lnTo>
                    <a:lnTo>
                      <a:pt x="577037" y="2197100"/>
                    </a:lnTo>
                    <a:lnTo>
                      <a:pt x="583996" y="2171700"/>
                    </a:lnTo>
                    <a:lnTo>
                      <a:pt x="584923" y="2133600"/>
                    </a:lnTo>
                    <a:lnTo>
                      <a:pt x="568718" y="2082800"/>
                    </a:lnTo>
                    <a:lnTo>
                      <a:pt x="533361" y="2032000"/>
                    </a:lnTo>
                    <a:lnTo>
                      <a:pt x="483895" y="2006600"/>
                    </a:lnTo>
                    <a:lnTo>
                      <a:pt x="454164" y="2006600"/>
                    </a:lnTo>
                    <a:lnTo>
                      <a:pt x="424853" y="1993900"/>
                    </a:lnTo>
                    <a:lnTo>
                      <a:pt x="367487" y="2019300"/>
                    </a:lnTo>
                    <a:lnTo>
                      <a:pt x="341693" y="2032000"/>
                    </a:lnTo>
                    <a:lnTo>
                      <a:pt x="320903" y="2057400"/>
                    </a:lnTo>
                    <a:lnTo>
                      <a:pt x="305117" y="2070100"/>
                    </a:lnTo>
                    <a:lnTo>
                      <a:pt x="294322" y="2108200"/>
                    </a:lnTo>
                    <a:lnTo>
                      <a:pt x="277164" y="2159000"/>
                    </a:lnTo>
                    <a:lnTo>
                      <a:pt x="257606" y="2209800"/>
                    </a:lnTo>
                    <a:lnTo>
                      <a:pt x="235661" y="2247900"/>
                    </a:lnTo>
                    <a:lnTo>
                      <a:pt x="211315" y="2298700"/>
                    </a:lnTo>
                    <a:lnTo>
                      <a:pt x="184581" y="2349500"/>
                    </a:lnTo>
                    <a:lnTo>
                      <a:pt x="158369" y="2387600"/>
                    </a:lnTo>
                    <a:lnTo>
                      <a:pt x="130289" y="2438400"/>
                    </a:lnTo>
                    <a:lnTo>
                      <a:pt x="100368" y="2476500"/>
                    </a:lnTo>
                    <a:lnTo>
                      <a:pt x="68567" y="2527300"/>
                    </a:lnTo>
                    <a:lnTo>
                      <a:pt x="34925" y="2565400"/>
                    </a:lnTo>
                    <a:lnTo>
                      <a:pt x="17767" y="2590800"/>
                    </a:lnTo>
                    <a:lnTo>
                      <a:pt x="6235" y="2616200"/>
                    </a:lnTo>
                    <a:lnTo>
                      <a:pt x="317" y="2654300"/>
                    </a:lnTo>
                    <a:lnTo>
                      <a:pt x="0" y="2679700"/>
                    </a:lnTo>
                    <a:lnTo>
                      <a:pt x="5092" y="2705100"/>
                    </a:lnTo>
                    <a:lnTo>
                      <a:pt x="30861" y="2755900"/>
                    </a:lnTo>
                    <a:lnTo>
                      <a:pt x="75869" y="2794000"/>
                    </a:lnTo>
                    <a:lnTo>
                      <a:pt x="102260" y="2806700"/>
                    </a:lnTo>
                    <a:lnTo>
                      <a:pt x="191211" y="2806700"/>
                    </a:lnTo>
                    <a:lnTo>
                      <a:pt x="217805" y="2794000"/>
                    </a:lnTo>
                    <a:lnTo>
                      <a:pt x="241096" y="2781300"/>
                    </a:lnTo>
                    <a:lnTo>
                      <a:pt x="261086" y="2755900"/>
                    </a:lnTo>
                    <a:lnTo>
                      <a:pt x="300977" y="2717800"/>
                    </a:lnTo>
                    <a:lnTo>
                      <a:pt x="315417" y="2692400"/>
                    </a:lnTo>
                    <a:lnTo>
                      <a:pt x="332143" y="2679700"/>
                    </a:lnTo>
                    <a:lnTo>
                      <a:pt x="351167" y="2679700"/>
                    </a:lnTo>
                    <a:lnTo>
                      <a:pt x="372465" y="2667000"/>
                    </a:lnTo>
                    <a:lnTo>
                      <a:pt x="415277" y="2667000"/>
                    </a:lnTo>
                    <a:lnTo>
                      <a:pt x="435140" y="2679700"/>
                    </a:lnTo>
                    <a:lnTo>
                      <a:pt x="453961" y="2692400"/>
                    </a:lnTo>
                    <a:lnTo>
                      <a:pt x="477240" y="2705100"/>
                    </a:lnTo>
                    <a:lnTo>
                      <a:pt x="518896" y="2730500"/>
                    </a:lnTo>
                    <a:lnTo>
                      <a:pt x="562190" y="2755900"/>
                    </a:lnTo>
                    <a:lnTo>
                      <a:pt x="653681" y="2781300"/>
                    </a:lnTo>
                    <a:lnTo>
                      <a:pt x="751700" y="2806700"/>
                    </a:lnTo>
                    <a:lnTo>
                      <a:pt x="1810829" y="2806700"/>
                    </a:lnTo>
                    <a:lnTo>
                      <a:pt x="1839709" y="2794000"/>
                    </a:lnTo>
                    <a:lnTo>
                      <a:pt x="1866519" y="2794000"/>
                    </a:lnTo>
                    <a:lnTo>
                      <a:pt x="1891245" y="2781300"/>
                    </a:lnTo>
                    <a:lnTo>
                      <a:pt x="1913915" y="2755900"/>
                    </a:lnTo>
                    <a:lnTo>
                      <a:pt x="1932813" y="2743200"/>
                    </a:lnTo>
                    <a:lnTo>
                      <a:pt x="1946325" y="2717800"/>
                    </a:lnTo>
                    <a:lnTo>
                      <a:pt x="1954428" y="2679700"/>
                    </a:lnTo>
                    <a:lnTo>
                      <a:pt x="1955787" y="2667000"/>
                    </a:lnTo>
                    <a:lnTo>
                      <a:pt x="1957133" y="2654300"/>
                    </a:lnTo>
                    <a:lnTo>
                      <a:pt x="1954428" y="2628900"/>
                    </a:lnTo>
                    <a:lnTo>
                      <a:pt x="1932813" y="2578100"/>
                    </a:lnTo>
                    <a:lnTo>
                      <a:pt x="1891245" y="2527300"/>
                    </a:lnTo>
                    <a:lnTo>
                      <a:pt x="1866519" y="2514600"/>
                    </a:lnTo>
                    <a:lnTo>
                      <a:pt x="1839709" y="2514600"/>
                    </a:lnTo>
                    <a:lnTo>
                      <a:pt x="1810829" y="2501900"/>
                    </a:lnTo>
                    <a:lnTo>
                      <a:pt x="1275181" y="2501900"/>
                    </a:lnTo>
                    <a:lnTo>
                      <a:pt x="1252270" y="2489200"/>
                    </a:lnTo>
                    <a:lnTo>
                      <a:pt x="1213319" y="2438400"/>
                    </a:lnTo>
                    <a:lnTo>
                      <a:pt x="1195146" y="2387600"/>
                    </a:lnTo>
                    <a:lnTo>
                      <a:pt x="1193139" y="2362200"/>
                    </a:lnTo>
                    <a:lnTo>
                      <a:pt x="1193139" y="2057400"/>
                    </a:lnTo>
                    <a:lnTo>
                      <a:pt x="1195146" y="2032000"/>
                    </a:lnTo>
                    <a:lnTo>
                      <a:pt x="1201635" y="2006600"/>
                    </a:lnTo>
                    <a:lnTo>
                      <a:pt x="1213319" y="1968500"/>
                    </a:lnTo>
                    <a:lnTo>
                      <a:pt x="1230934" y="1955800"/>
                    </a:lnTo>
                    <a:lnTo>
                      <a:pt x="1252270" y="1930400"/>
                    </a:lnTo>
                    <a:lnTo>
                      <a:pt x="1275181" y="1917700"/>
                    </a:lnTo>
                    <a:lnTo>
                      <a:pt x="1300391" y="1905000"/>
                    </a:lnTo>
                    <a:lnTo>
                      <a:pt x="1451648" y="1905000"/>
                    </a:lnTo>
                    <a:lnTo>
                      <a:pt x="1500174" y="1892300"/>
                    </a:lnTo>
                    <a:lnTo>
                      <a:pt x="1544942" y="1892300"/>
                    </a:lnTo>
                    <a:lnTo>
                      <a:pt x="1586318" y="1879600"/>
                    </a:lnTo>
                    <a:lnTo>
                      <a:pt x="1624698" y="1854200"/>
                    </a:lnTo>
                    <a:lnTo>
                      <a:pt x="1660486" y="1816100"/>
                    </a:lnTo>
                    <a:lnTo>
                      <a:pt x="1691195" y="1790700"/>
                    </a:lnTo>
                    <a:lnTo>
                      <a:pt x="1714411" y="1752600"/>
                    </a:lnTo>
                    <a:lnTo>
                      <a:pt x="1730527" y="1714500"/>
                    </a:lnTo>
                    <a:lnTo>
                      <a:pt x="1739912" y="1663700"/>
                    </a:lnTo>
                    <a:lnTo>
                      <a:pt x="1742960" y="1612900"/>
                    </a:lnTo>
                    <a:lnTo>
                      <a:pt x="1742960" y="1600200"/>
                    </a:lnTo>
                    <a:lnTo>
                      <a:pt x="1745869" y="1574800"/>
                    </a:lnTo>
                    <a:lnTo>
                      <a:pt x="1754098" y="1562100"/>
                    </a:lnTo>
                    <a:lnTo>
                      <a:pt x="1766900" y="1536700"/>
                    </a:lnTo>
                    <a:lnTo>
                      <a:pt x="1783549" y="1524000"/>
                    </a:lnTo>
                    <a:lnTo>
                      <a:pt x="1803488" y="1511300"/>
                    </a:lnTo>
                    <a:lnTo>
                      <a:pt x="1826272" y="1498600"/>
                    </a:lnTo>
                    <a:lnTo>
                      <a:pt x="1851126" y="1485900"/>
                    </a:lnTo>
                    <a:lnTo>
                      <a:pt x="1911083" y="1485900"/>
                    </a:lnTo>
                    <a:lnTo>
                      <a:pt x="1939251" y="1473200"/>
                    </a:lnTo>
                    <a:lnTo>
                      <a:pt x="1965147" y="1460500"/>
                    </a:lnTo>
                    <a:lnTo>
                      <a:pt x="1988743" y="1435100"/>
                    </a:lnTo>
                    <a:lnTo>
                      <a:pt x="2008390" y="1422400"/>
                    </a:lnTo>
                    <a:lnTo>
                      <a:pt x="2022411" y="1397000"/>
                    </a:lnTo>
                    <a:lnTo>
                      <a:pt x="2030831" y="1358900"/>
                    </a:lnTo>
                    <a:lnTo>
                      <a:pt x="2033638" y="133350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2" name="object 9"/>
              <p:cNvSpPr>
                <a:spLocks noChangeArrowheads="1"/>
              </p:cNvSpPr>
              <p:nvPr userDrawn="1"/>
            </p:nvSpPr>
            <p:spPr bwMode="auto">
              <a:xfrm>
                <a:off x="8697913" y="7029450"/>
                <a:ext cx="1306512" cy="912813"/>
              </a:xfrm>
              <a:custGeom>
                <a:avLst/>
                <a:gdLst>
                  <a:gd name="T0" fmla="*/ 353193 w 1306195"/>
                  <a:gd name="T1" fmla="*/ 0 h 913765"/>
                  <a:gd name="T2" fmla="*/ 249188 w 1306195"/>
                  <a:gd name="T3" fmla="*/ 15359 h 913765"/>
                  <a:gd name="T4" fmla="*/ 128468 w 1306195"/>
                  <a:gd name="T5" fmla="*/ 80137 h 913765"/>
                  <a:gd name="T6" fmla="*/ 42341 w 1306195"/>
                  <a:gd name="T7" fmla="*/ 184724 h 913765"/>
                  <a:gd name="T8" fmla="*/ 1708 w 1306195"/>
                  <a:gd name="T9" fmla="*/ 317007 h 913765"/>
                  <a:gd name="T10" fmla="*/ 2168 w 1306195"/>
                  <a:gd name="T11" fmla="*/ 820758 h 913765"/>
                  <a:gd name="T12" fmla="*/ 52892 w 1306195"/>
                  <a:gd name="T13" fmla="*/ 894767 h 913765"/>
                  <a:gd name="T14" fmla="*/ 116677 w 1306195"/>
                  <a:gd name="T15" fmla="*/ 913616 h 913765"/>
                  <a:gd name="T16" fmla="*/ 182767 w 1306195"/>
                  <a:gd name="T17" fmla="*/ 894767 h 913765"/>
                  <a:gd name="T18" fmla="*/ 233673 w 1306195"/>
                  <a:gd name="T19" fmla="*/ 820758 h 913765"/>
                  <a:gd name="T20" fmla="*/ 238871 w 1306195"/>
                  <a:gd name="T21" fmla="*/ 367350 h 913765"/>
                  <a:gd name="T22" fmla="*/ 309626 w 1306195"/>
                  <a:gd name="T23" fmla="*/ 263079 h 913765"/>
                  <a:gd name="T24" fmla="*/ 399705 w 1306195"/>
                  <a:gd name="T25" fmla="*/ 235846 h 913765"/>
                  <a:gd name="T26" fmla="*/ 1278495 w 1306195"/>
                  <a:gd name="T27" fmla="*/ 215982 h 913765"/>
                  <a:gd name="T28" fmla="*/ 1203890 w 1306195"/>
                  <a:gd name="T29" fmla="*/ 103023 h 913765"/>
                  <a:gd name="T30" fmla="*/ 1091935 w 1306195"/>
                  <a:gd name="T31" fmla="*/ 27297 h 913765"/>
                  <a:gd name="T32" fmla="*/ 990751 w 1306195"/>
                  <a:gd name="T33" fmla="*/ 1707 h 913765"/>
                  <a:gd name="T34" fmla="*/ 652943 w 1306195"/>
                  <a:gd name="T35" fmla="*/ 297917 h 913765"/>
                  <a:gd name="T36" fmla="*/ 568516 w 1306195"/>
                  <a:gd name="T37" fmla="*/ 332670 h 913765"/>
                  <a:gd name="T38" fmla="*/ 533774 w 1306195"/>
                  <a:gd name="T39" fmla="*/ 417086 h 913765"/>
                  <a:gd name="T40" fmla="*/ 542452 w 1306195"/>
                  <a:gd name="T41" fmla="*/ 842558 h 913765"/>
                  <a:gd name="T42" fmla="*/ 606988 w 1306195"/>
                  <a:gd name="T43" fmla="*/ 905240 h 913765"/>
                  <a:gd name="T44" fmla="*/ 676749 w 1306195"/>
                  <a:gd name="T45" fmla="*/ 911522 h 913765"/>
                  <a:gd name="T46" fmla="*/ 750773 w 1306195"/>
                  <a:gd name="T47" fmla="*/ 862335 h 913765"/>
                  <a:gd name="T48" fmla="*/ 769631 w 1306195"/>
                  <a:gd name="T49" fmla="*/ 796928 h 913765"/>
                  <a:gd name="T50" fmla="*/ 761247 w 1306195"/>
                  <a:gd name="T51" fmla="*/ 371168 h 913765"/>
                  <a:gd name="T52" fmla="*/ 698549 w 1306195"/>
                  <a:gd name="T53" fmla="*/ 306608 h 913765"/>
                  <a:gd name="T54" fmla="*/ 1285757 w 1306195"/>
                  <a:gd name="T55" fmla="*/ 235846 h 913765"/>
                  <a:gd name="T56" fmla="*/ 938524 w 1306195"/>
                  <a:gd name="T57" fmla="*/ 238871 h 913765"/>
                  <a:gd name="T58" fmla="*/ 1021612 w 1306195"/>
                  <a:gd name="T59" fmla="*/ 284263 h 913765"/>
                  <a:gd name="T60" fmla="*/ 1070019 w 1306195"/>
                  <a:gd name="T61" fmla="*/ 399705 h 913765"/>
                  <a:gd name="T62" fmla="*/ 1072137 w 1306195"/>
                  <a:gd name="T63" fmla="*/ 820758 h 913765"/>
                  <a:gd name="T64" fmla="*/ 1121842 w 1306195"/>
                  <a:gd name="T65" fmla="*/ 894767 h 913765"/>
                  <a:gd name="T66" fmla="*/ 1187963 w 1306195"/>
                  <a:gd name="T67" fmla="*/ 913616 h 913765"/>
                  <a:gd name="T68" fmla="*/ 1254061 w 1306195"/>
                  <a:gd name="T69" fmla="*/ 894767 h 913765"/>
                  <a:gd name="T70" fmla="*/ 1303768 w 1306195"/>
                  <a:gd name="T71" fmla="*/ 820758 h 913765"/>
                  <a:gd name="T72" fmla="*/ 1305812 w 1306195"/>
                  <a:gd name="T73" fmla="*/ 350992 h 913765"/>
                  <a:gd name="T74" fmla="*/ 1299031 w 1306195"/>
                  <a:gd name="T75" fmla="*/ 282408 h 913765"/>
                  <a:gd name="T76" fmla="*/ 1285757 w 1306195"/>
                  <a:gd name="T77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06195" h="913765">
                    <a:moveTo>
                      <a:pt x="955175" y="0"/>
                    </a:moveTo>
                    <a:lnTo>
                      <a:pt x="353193" y="0"/>
                    </a:lnTo>
                    <a:lnTo>
                      <a:pt x="317588" y="1707"/>
                    </a:lnTo>
                    <a:lnTo>
                      <a:pt x="249188" y="15359"/>
                    </a:lnTo>
                    <a:lnTo>
                      <a:pt x="185044" y="42285"/>
                    </a:lnTo>
                    <a:lnTo>
                      <a:pt x="128468" y="80137"/>
                    </a:lnTo>
                    <a:lnTo>
                      <a:pt x="80280" y="128238"/>
                    </a:lnTo>
                    <a:lnTo>
                      <a:pt x="42341" y="184724"/>
                    </a:lnTo>
                    <a:lnTo>
                      <a:pt x="15376" y="248735"/>
                    </a:lnTo>
                    <a:lnTo>
                      <a:pt x="1708" y="317007"/>
                    </a:lnTo>
                    <a:lnTo>
                      <a:pt x="0" y="796928"/>
                    </a:lnTo>
                    <a:lnTo>
                      <a:pt x="2168" y="820758"/>
                    </a:lnTo>
                    <a:lnTo>
                      <a:pt x="19533" y="862335"/>
                    </a:lnTo>
                    <a:lnTo>
                      <a:pt x="52892" y="894767"/>
                    </a:lnTo>
                    <a:lnTo>
                      <a:pt x="93861" y="911522"/>
                    </a:lnTo>
                    <a:lnTo>
                      <a:pt x="116677" y="913616"/>
                    </a:lnTo>
                    <a:lnTo>
                      <a:pt x="140563" y="911522"/>
                    </a:lnTo>
                    <a:lnTo>
                      <a:pt x="182767" y="894767"/>
                    </a:lnTo>
                    <a:lnTo>
                      <a:pt x="216294" y="862335"/>
                    </a:lnTo>
                    <a:lnTo>
                      <a:pt x="233673" y="820758"/>
                    </a:lnTo>
                    <a:lnTo>
                      <a:pt x="235846" y="399705"/>
                    </a:lnTo>
                    <a:lnTo>
                      <a:pt x="238871" y="367350"/>
                    </a:lnTo>
                    <a:lnTo>
                      <a:pt x="263075" y="309626"/>
                    </a:lnTo>
                    <a:lnTo>
                      <a:pt x="309626" y="263079"/>
                    </a:lnTo>
                    <a:lnTo>
                      <a:pt x="367351" y="238871"/>
                    </a:lnTo>
                    <a:lnTo>
                      <a:pt x="399705" y="235846"/>
                    </a:lnTo>
                    <a:lnTo>
                      <a:pt x="1285757" y="235846"/>
                    </a:lnTo>
                    <a:lnTo>
                      <a:pt x="1278495" y="215982"/>
                    </a:lnTo>
                    <a:lnTo>
                      <a:pt x="1246171" y="155474"/>
                    </a:lnTo>
                    <a:lnTo>
                      <a:pt x="1203890" y="103023"/>
                    </a:lnTo>
                    <a:lnTo>
                      <a:pt x="1152282" y="59894"/>
                    </a:lnTo>
                    <a:lnTo>
                      <a:pt x="1091935" y="27297"/>
                    </a:lnTo>
                    <a:lnTo>
                      <a:pt x="1025404" y="6828"/>
                    </a:lnTo>
                    <a:lnTo>
                      <a:pt x="990751" y="1707"/>
                    </a:lnTo>
                    <a:lnTo>
                      <a:pt x="955175" y="0"/>
                    </a:lnTo>
                    <a:close/>
                  </a:path>
                  <a:path w="1306195" h="913765">
                    <a:moveTo>
                      <a:pt x="652943" y="297917"/>
                    </a:moveTo>
                    <a:lnTo>
                      <a:pt x="606988" y="306608"/>
                    </a:lnTo>
                    <a:lnTo>
                      <a:pt x="568516" y="332670"/>
                    </a:lnTo>
                    <a:lnTo>
                      <a:pt x="542452" y="371168"/>
                    </a:lnTo>
                    <a:lnTo>
                      <a:pt x="533774" y="417086"/>
                    </a:lnTo>
                    <a:lnTo>
                      <a:pt x="533774" y="796928"/>
                    </a:lnTo>
                    <a:lnTo>
                      <a:pt x="542452" y="842558"/>
                    </a:lnTo>
                    <a:lnTo>
                      <a:pt x="568516" y="880098"/>
                    </a:lnTo>
                    <a:lnTo>
                      <a:pt x="606988" y="905240"/>
                    </a:lnTo>
                    <a:lnTo>
                      <a:pt x="652943" y="913616"/>
                    </a:lnTo>
                    <a:lnTo>
                      <a:pt x="676749" y="911522"/>
                    </a:lnTo>
                    <a:lnTo>
                      <a:pt x="718338" y="894767"/>
                    </a:lnTo>
                    <a:lnTo>
                      <a:pt x="750773" y="862335"/>
                    </a:lnTo>
                    <a:lnTo>
                      <a:pt x="767534" y="820758"/>
                    </a:lnTo>
                    <a:lnTo>
                      <a:pt x="769631" y="796928"/>
                    </a:lnTo>
                    <a:lnTo>
                      <a:pt x="769631" y="417086"/>
                    </a:lnTo>
                    <a:lnTo>
                      <a:pt x="761247" y="371168"/>
                    </a:lnTo>
                    <a:lnTo>
                      <a:pt x="736113" y="332670"/>
                    </a:lnTo>
                    <a:lnTo>
                      <a:pt x="698549" y="306608"/>
                    </a:lnTo>
                    <a:lnTo>
                      <a:pt x="652943" y="297917"/>
                    </a:lnTo>
                    <a:close/>
                  </a:path>
                  <a:path w="1306195" h="913765">
                    <a:moveTo>
                      <a:pt x="1285757" y="235846"/>
                    </a:moveTo>
                    <a:lnTo>
                      <a:pt x="906171" y="235846"/>
                    </a:lnTo>
                    <a:lnTo>
                      <a:pt x="938524" y="238871"/>
                    </a:lnTo>
                    <a:lnTo>
                      <a:pt x="968549" y="247949"/>
                    </a:lnTo>
                    <a:lnTo>
                      <a:pt x="1021612" y="284263"/>
                    </a:lnTo>
                    <a:lnTo>
                      <a:pt x="1057921" y="337323"/>
                    </a:lnTo>
                    <a:lnTo>
                      <a:pt x="1070019" y="399705"/>
                    </a:lnTo>
                    <a:lnTo>
                      <a:pt x="1070019" y="796928"/>
                    </a:lnTo>
                    <a:lnTo>
                      <a:pt x="1072137" y="820758"/>
                    </a:lnTo>
                    <a:lnTo>
                      <a:pt x="1089076" y="862335"/>
                    </a:lnTo>
                    <a:lnTo>
                      <a:pt x="1121842" y="894767"/>
                    </a:lnTo>
                    <a:lnTo>
                      <a:pt x="1163871" y="911522"/>
                    </a:lnTo>
                    <a:lnTo>
                      <a:pt x="1187963" y="913616"/>
                    </a:lnTo>
                    <a:lnTo>
                      <a:pt x="1212023" y="911522"/>
                    </a:lnTo>
                    <a:lnTo>
                      <a:pt x="1254061" y="894767"/>
                    </a:lnTo>
                    <a:lnTo>
                      <a:pt x="1286830" y="862335"/>
                    </a:lnTo>
                    <a:lnTo>
                      <a:pt x="1303768" y="820758"/>
                    </a:lnTo>
                    <a:lnTo>
                      <a:pt x="1305886" y="796928"/>
                    </a:lnTo>
                    <a:lnTo>
                      <a:pt x="1305812" y="350992"/>
                    </a:lnTo>
                    <a:lnTo>
                      <a:pt x="1304172" y="317007"/>
                    </a:lnTo>
                    <a:lnTo>
                      <a:pt x="1299031" y="282408"/>
                    </a:lnTo>
                    <a:lnTo>
                      <a:pt x="1290470" y="248735"/>
                    </a:lnTo>
                    <a:lnTo>
                      <a:pt x="1285757" y="235846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3" name="object 10"/>
              <p:cNvSpPr>
                <a:spLocks noChangeArrowheads="1"/>
              </p:cNvSpPr>
              <p:nvPr userDrawn="1"/>
            </p:nvSpPr>
            <p:spPr bwMode="auto">
              <a:xfrm>
                <a:off x="10213975" y="7029450"/>
                <a:ext cx="1068388" cy="912813"/>
              </a:xfrm>
              <a:custGeom>
                <a:avLst/>
                <a:gdLst>
                  <a:gd name="T0" fmla="*/ 355842 w 1068070"/>
                  <a:gd name="T1" fmla="*/ 0 h 913765"/>
                  <a:gd name="T2" fmla="*/ 249469 w 1068070"/>
                  <a:gd name="T3" fmla="*/ 15359 h 913765"/>
                  <a:gd name="T4" fmla="*/ 128549 w 1068070"/>
                  <a:gd name="T5" fmla="*/ 80137 h 913765"/>
                  <a:gd name="T6" fmla="*/ 42358 w 1068070"/>
                  <a:gd name="T7" fmla="*/ 184724 h 913765"/>
                  <a:gd name="T8" fmla="*/ 1710 w 1068070"/>
                  <a:gd name="T9" fmla="*/ 317011 h 913765"/>
                  <a:gd name="T10" fmla="*/ 0 w 1068070"/>
                  <a:gd name="T11" fmla="*/ 561082 h 913765"/>
                  <a:gd name="T12" fmla="*/ 27360 w 1068070"/>
                  <a:gd name="T13" fmla="*/ 698868 h 913765"/>
                  <a:gd name="T14" fmla="*/ 103274 w 1068070"/>
                  <a:gd name="T15" fmla="*/ 810593 h 913765"/>
                  <a:gd name="T16" fmla="*/ 216496 w 1068070"/>
                  <a:gd name="T17" fmla="*/ 886308 h 913765"/>
                  <a:gd name="T18" fmla="*/ 355842 w 1068070"/>
                  <a:gd name="T19" fmla="*/ 913616 h 913765"/>
                  <a:gd name="T20" fmla="*/ 784500 w 1068070"/>
                  <a:gd name="T21" fmla="*/ 906802 h 913765"/>
                  <a:gd name="T22" fmla="*/ 911728 w 1068070"/>
                  <a:gd name="T23" fmla="*/ 853727 h 913765"/>
                  <a:gd name="T24" fmla="*/ 1007534 w 1068070"/>
                  <a:gd name="T25" fmla="*/ 758449 h 913765"/>
                  <a:gd name="T26" fmla="*/ 1047980 w 1068070"/>
                  <a:gd name="T27" fmla="*/ 677769 h 913765"/>
                  <a:gd name="T28" fmla="*/ 368753 w 1068070"/>
                  <a:gd name="T29" fmla="*/ 674822 h 913765"/>
                  <a:gd name="T30" fmla="*/ 263091 w 1068070"/>
                  <a:gd name="T31" fmla="*/ 605628 h 913765"/>
                  <a:gd name="T32" fmla="*/ 235867 w 1068070"/>
                  <a:gd name="T33" fmla="*/ 513911 h 913765"/>
                  <a:gd name="T34" fmla="*/ 247964 w 1068070"/>
                  <a:gd name="T35" fmla="*/ 337327 h 913765"/>
                  <a:gd name="T36" fmla="*/ 337954 w 1068070"/>
                  <a:gd name="T37" fmla="*/ 247953 h 913765"/>
                  <a:gd name="T38" fmla="*/ 1047433 w 1068070"/>
                  <a:gd name="T39" fmla="*/ 235846 h 913765"/>
                  <a:gd name="T40" fmla="*/ 1007534 w 1068070"/>
                  <a:gd name="T41" fmla="*/ 155474 h 913765"/>
                  <a:gd name="T42" fmla="*/ 911728 w 1068070"/>
                  <a:gd name="T43" fmla="*/ 59894 h 913765"/>
                  <a:gd name="T44" fmla="*/ 784500 w 1068070"/>
                  <a:gd name="T45" fmla="*/ 6828 h 913765"/>
                  <a:gd name="T46" fmla="*/ 714208 w 1068070"/>
                  <a:gd name="T47" fmla="*/ 0 h 913765"/>
                  <a:gd name="T48" fmla="*/ 665361 w 1068070"/>
                  <a:gd name="T49" fmla="*/ 235846 h 913765"/>
                  <a:gd name="T50" fmla="*/ 728048 w 1068070"/>
                  <a:gd name="T51" fmla="*/ 247953 h 913765"/>
                  <a:gd name="T52" fmla="*/ 819293 w 1068070"/>
                  <a:gd name="T53" fmla="*/ 337327 h 913765"/>
                  <a:gd name="T54" fmla="*/ 831712 w 1068070"/>
                  <a:gd name="T55" fmla="*/ 513911 h 913765"/>
                  <a:gd name="T56" fmla="*/ 782049 w 1068070"/>
                  <a:gd name="T57" fmla="*/ 630598 h 913765"/>
                  <a:gd name="T58" fmla="*/ 665361 w 1068070"/>
                  <a:gd name="T59" fmla="*/ 677769 h 913765"/>
                  <a:gd name="T60" fmla="*/ 1052142 w 1068070"/>
                  <a:gd name="T61" fmla="*/ 666515 h 913765"/>
                  <a:gd name="T62" fmla="*/ 1065842 w 1068070"/>
                  <a:gd name="T63" fmla="*/ 597623 h 913765"/>
                  <a:gd name="T64" fmla="*/ 1067559 w 1068070"/>
                  <a:gd name="T65" fmla="*/ 352533 h 913765"/>
                  <a:gd name="T66" fmla="*/ 1060700 w 1068070"/>
                  <a:gd name="T67" fmla="*/ 282412 h 913765"/>
                  <a:gd name="T68" fmla="*/ 1047433 w 1068070"/>
                  <a:gd name="T69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68070" h="913765">
                    <a:moveTo>
                      <a:pt x="714208" y="0"/>
                    </a:moveTo>
                    <a:lnTo>
                      <a:pt x="355842" y="0"/>
                    </a:lnTo>
                    <a:lnTo>
                      <a:pt x="319140" y="1707"/>
                    </a:lnTo>
                    <a:lnTo>
                      <a:pt x="249469" y="15359"/>
                    </a:lnTo>
                    <a:lnTo>
                      <a:pt x="185159" y="42285"/>
                    </a:lnTo>
                    <a:lnTo>
                      <a:pt x="128549" y="80137"/>
                    </a:lnTo>
                    <a:lnTo>
                      <a:pt x="80325" y="128238"/>
                    </a:lnTo>
                    <a:lnTo>
                      <a:pt x="42358" y="184724"/>
                    </a:lnTo>
                    <a:lnTo>
                      <a:pt x="15390" y="248736"/>
                    </a:lnTo>
                    <a:lnTo>
                      <a:pt x="1710" y="317011"/>
                    </a:lnTo>
                    <a:lnTo>
                      <a:pt x="0" y="352533"/>
                    </a:lnTo>
                    <a:lnTo>
                      <a:pt x="0" y="561082"/>
                    </a:lnTo>
                    <a:lnTo>
                      <a:pt x="6840" y="632767"/>
                    </a:lnTo>
                    <a:lnTo>
                      <a:pt x="27360" y="698868"/>
                    </a:lnTo>
                    <a:lnTo>
                      <a:pt x="60016" y="758449"/>
                    </a:lnTo>
                    <a:lnTo>
                      <a:pt x="103274" y="810593"/>
                    </a:lnTo>
                    <a:lnTo>
                      <a:pt x="155844" y="853727"/>
                    </a:lnTo>
                    <a:lnTo>
                      <a:pt x="216496" y="886308"/>
                    </a:lnTo>
                    <a:lnTo>
                      <a:pt x="283683" y="906802"/>
                    </a:lnTo>
                    <a:lnTo>
                      <a:pt x="355842" y="913616"/>
                    </a:lnTo>
                    <a:lnTo>
                      <a:pt x="714208" y="913616"/>
                    </a:lnTo>
                    <a:lnTo>
                      <a:pt x="784500" y="906802"/>
                    </a:lnTo>
                    <a:lnTo>
                      <a:pt x="851063" y="886308"/>
                    </a:lnTo>
                    <a:lnTo>
                      <a:pt x="911728" y="853727"/>
                    </a:lnTo>
                    <a:lnTo>
                      <a:pt x="964305" y="810593"/>
                    </a:lnTo>
                    <a:lnTo>
                      <a:pt x="1007534" y="758449"/>
                    </a:lnTo>
                    <a:lnTo>
                      <a:pt x="1040177" y="698868"/>
                    </a:lnTo>
                    <a:lnTo>
                      <a:pt x="1047980" y="677769"/>
                    </a:lnTo>
                    <a:lnTo>
                      <a:pt x="402197" y="677769"/>
                    </a:lnTo>
                    <a:lnTo>
                      <a:pt x="368753" y="674822"/>
                    </a:lnTo>
                    <a:lnTo>
                      <a:pt x="309795" y="651239"/>
                    </a:lnTo>
                    <a:lnTo>
                      <a:pt x="263091" y="605628"/>
                    </a:lnTo>
                    <a:lnTo>
                      <a:pt x="238891" y="547280"/>
                    </a:lnTo>
                    <a:lnTo>
                      <a:pt x="235867" y="513911"/>
                    </a:lnTo>
                    <a:lnTo>
                      <a:pt x="235867" y="399705"/>
                    </a:lnTo>
                    <a:lnTo>
                      <a:pt x="247964" y="337327"/>
                    </a:lnTo>
                    <a:lnTo>
                      <a:pt x="284274" y="284263"/>
                    </a:lnTo>
                    <a:lnTo>
                      <a:pt x="337954" y="247953"/>
                    </a:lnTo>
                    <a:lnTo>
                      <a:pt x="402197" y="235846"/>
                    </a:lnTo>
                    <a:lnTo>
                      <a:pt x="1047433" y="235846"/>
                    </a:lnTo>
                    <a:lnTo>
                      <a:pt x="1040177" y="215982"/>
                    </a:lnTo>
                    <a:lnTo>
                      <a:pt x="1007534" y="155474"/>
                    </a:lnTo>
                    <a:lnTo>
                      <a:pt x="964305" y="103023"/>
                    </a:lnTo>
                    <a:lnTo>
                      <a:pt x="911728" y="59894"/>
                    </a:lnTo>
                    <a:lnTo>
                      <a:pt x="851063" y="27297"/>
                    </a:lnTo>
                    <a:lnTo>
                      <a:pt x="784500" y="6828"/>
                    </a:lnTo>
                    <a:lnTo>
                      <a:pt x="749820" y="1707"/>
                    </a:lnTo>
                    <a:lnTo>
                      <a:pt x="714208" y="0"/>
                    </a:lnTo>
                    <a:close/>
                  </a:path>
                  <a:path w="1068070" h="913765">
                    <a:moveTo>
                      <a:pt x="1047433" y="235846"/>
                    </a:moveTo>
                    <a:lnTo>
                      <a:pt x="665361" y="235846"/>
                    </a:lnTo>
                    <a:lnTo>
                      <a:pt x="697794" y="238873"/>
                    </a:lnTo>
                    <a:lnTo>
                      <a:pt x="728048" y="247953"/>
                    </a:lnTo>
                    <a:lnTo>
                      <a:pt x="782049" y="284263"/>
                    </a:lnTo>
                    <a:lnTo>
                      <a:pt x="819293" y="337327"/>
                    </a:lnTo>
                    <a:lnTo>
                      <a:pt x="831712" y="399705"/>
                    </a:lnTo>
                    <a:lnTo>
                      <a:pt x="831712" y="513911"/>
                    </a:lnTo>
                    <a:lnTo>
                      <a:pt x="819293" y="577854"/>
                    </a:lnTo>
                    <a:lnTo>
                      <a:pt x="782049" y="630598"/>
                    </a:lnTo>
                    <a:lnTo>
                      <a:pt x="728048" y="665979"/>
                    </a:lnTo>
                    <a:lnTo>
                      <a:pt x="665361" y="677769"/>
                    </a:lnTo>
                    <a:lnTo>
                      <a:pt x="1047980" y="677769"/>
                    </a:lnTo>
                    <a:lnTo>
                      <a:pt x="1052142" y="666515"/>
                    </a:lnTo>
                    <a:lnTo>
                      <a:pt x="1060700" y="632767"/>
                    </a:lnTo>
                    <a:lnTo>
                      <a:pt x="1065842" y="597623"/>
                    </a:lnTo>
                    <a:lnTo>
                      <a:pt x="1067559" y="561082"/>
                    </a:lnTo>
                    <a:lnTo>
                      <a:pt x="1067559" y="352533"/>
                    </a:lnTo>
                    <a:lnTo>
                      <a:pt x="1065842" y="317011"/>
                    </a:lnTo>
                    <a:lnTo>
                      <a:pt x="1060700" y="282412"/>
                    </a:lnTo>
                    <a:lnTo>
                      <a:pt x="1052142" y="248736"/>
                    </a:lnTo>
                    <a:lnTo>
                      <a:pt x="1047433" y="235846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4" name="object 11"/>
              <p:cNvSpPr>
                <a:spLocks noChangeArrowheads="1"/>
              </p:cNvSpPr>
              <p:nvPr userDrawn="1"/>
            </p:nvSpPr>
            <p:spPr bwMode="auto">
              <a:xfrm>
                <a:off x="11460163" y="6557010"/>
                <a:ext cx="1555750" cy="1985963"/>
              </a:xfrm>
              <a:custGeom>
                <a:avLst/>
                <a:gdLst>
                  <a:gd name="T0" fmla="*/ 1097965 w 1554480"/>
                  <a:gd name="T1" fmla="*/ 751649 h 1986279"/>
                  <a:gd name="T2" fmla="*/ 1044575 w 1554480"/>
                  <a:gd name="T3" fmla="*/ 625030 h 1986279"/>
                  <a:gd name="T4" fmla="*/ 949007 w 1554480"/>
                  <a:gd name="T5" fmla="*/ 529450 h 1986279"/>
                  <a:gd name="T6" fmla="*/ 822375 w 1554480"/>
                  <a:gd name="T7" fmla="*/ 476072 h 1986279"/>
                  <a:gd name="T8" fmla="*/ 429514 w 1554480"/>
                  <a:gd name="T9" fmla="*/ 469239 h 1986279"/>
                  <a:gd name="T10" fmla="*/ 345109 w 1554480"/>
                  <a:gd name="T11" fmla="*/ 503986 h 1986279"/>
                  <a:gd name="T12" fmla="*/ 310349 w 1554480"/>
                  <a:gd name="T13" fmla="*/ 585914 h 1986279"/>
                  <a:gd name="T14" fmla="*/ 329882 w 1554480"/>
                  <a:gd name="T15" fmla="*/ 652030 h 1986279"/>
                  <a:gd name="T16" fmla="*/ 405599 w 1554480"/>
                  <a:gd name="T17" fmla="*/ 702919 h 1986279"/>
                  <a:gd name="T18" fmla="*/ 775055 w 1554480"/>
                  <a:gd name="T19" fmla="*/ 707263 h 1986279"/>
                  <a:gd name="T20" fmla="*/ 849388 w 1554480"/>
                  <a:gd name="T21" fmla="*/ 757072 h 1986279"/>
                  <a:gd name="T22" fmla="*/ 868946 w 1554480"/>
                  <a:gd name="T23" fmla="*/ 821766 h 1986279"/>
                  <a:gd name="T24" fmla="*/ 860247 w 1554480"/>
                  <a:gd name="T25" fmla="*/ 1078115 h 1986279"/>
                  <a:gd name="T26" fmla="*/ 796315 w 1554480"/>
                  <a:gd name="T27" fmla="*/ 1138326 h 1986279"/>
                  <a:gd name="T28" fmla="*/ 352539 w 1554480"/>
                  <a:gd name="T29" fmla="*/ 1147013 h 1986279"/>
                  <a:gd name="T30" fmla="*/ 268135 w 1554480"/>
                  <a:gd name="T31" fmla="*/ 1112240 h 1986279"/>
                  <a:gd name="T32" fmla="*/ 235851 w 1554480"/>
                  <a:gd name="T33" fmla="*/ 1030325 h 1986279"/>
                  <a:gd name="T34" fmla="*/ 233680 w 1554480"/>
                  <a:gd name="T35" fmla="*/ 92887 h 1986279"/>
                  <a:gd name="T36" fmla="*/ 182791 w 1554480"/>
                  <a:gd name="T37" fmla="*/ 18859 h 1986279"/>
                  <a:gd name="T38" fmla="*/ 116700 w 1554480"/>
                  <a:gd name="T39" fmla="*/ 0 h 1986279"/>
                  <a:gd name="T40" fmla="*/ 51282 w 1554480"/>
                  <a:gd name="T41" fmla="*/ 18859 h 1986279"/>
                  <a:gd name="T42" fmla="*/ 2095 w 1554480"/>
                  <a:gd name="T43" fmla="*/ 92887 h 1986279"/>
                  <a:gd name="T44" fmla="*/ 0 w 1554480"/>
                  <a:gd name="T45" fmla="*/ 1030325 h 1986279"/>
                  <a:gd name="T46" fmla="*/ 27330 w 1554480"/>
                  <a:gd name="T47" fmla="*/ 1166876 h 1986279"/>
                  <a:gd name="T48" fmla="*/ 104279 w 1554480"/>
                  <a:gd name="T49" fmla="*/ 1281061 h 1986279"/>
                  <a:gd name="T50" fmla="*/ 214757 w 1554480"/>
                  <a:gd name="T51" fmla="*/ 1355559 h 1986279"/>
                  <a:gd name="T52" fmla="*/ 352539 w 1554480"/>
                  <a:gd name="T53" fmla="*/ 1382852 h 1986279"/>
                  <a:gd name="T54" fmla="*/ 822375 w 1554480"/>
                  <a:gd name="T55" fmla="*/ 1376032 h 1986279"/>
                  <a:gd name="T56" fmla="*/ 949007 w 1554480"/>
                  <a:gd name="T57" fmla="*/ 1323289 h 1986279"/>
                  <a:gd name="T58" fmla="*/ 1044575 w 1554480"/>
                  <a:gd name="T59" fmla="*/ 1227709 h 1986279"/>
                  <a:gd name="T60" fmla="*/ 1097965 w 1554480"/>
                  <a:gd name="T61" fmla="*/ 1100467 h 1986279"/>
                  <a:gd name="T62" fmla="*/ 1104798 w 1554480"/>
                  <a:gd name="T63" fmla="*/ 821766 h 1986279"/>
                  <a:gd name="T64" fmla="*/ 1546021 w 1554480"/>
                  <a:gd name="T65" fmla="*/ 559244 h 1986279"/>
                  <a:gd name="T66" fmla="*/ 1483334 w 1554480"/>
                  <a:gd name="T67" fmla="*/ 495300 h 1986279"/>
                  <a:gd name="T68" fmla="*/ 1413814 w 1554480"/>
                  <a:gd name="T69" fmla="*/ 488784 h 1986279"/>
                  <a:gd name="T70" fmla="*/ 1338084 w 1554480"/>
                  <a:gd name="T71" fmla="*/ 539534 h 1986279"/>
                  <a:gd name="T72" fmla="*/ 1318539 w 1554480"/>
                  <a:gd name="T73" fmla="*/ 603300 h 1986279"/>
                  <a:gd name="T74" fmla="*/ 1316520 w 1554480"/>
                  <a:gd name="T75" fmla="*/ 1658429 h 1986279"/>
                  <a:gd name="T76" fmla="*/ 1269034 w 1554480"/>
                  <a:gd name="T77" fmla="*/ 1732127 h 1986279"/>
                  <a:gd name="T78" fmla="*/ 1204353 w 1554480"/>
                  <a:gd name="T79" fmla="*/ 1750301 h 1986279"/>
                  <a:gd name="T80" fmla="*/ 1024204 w 1554480"/>
                  <a:gd name="T81" fmla="*/ 1752460 h 1986279"/>
                  <a:gd name="T82" fmla="*/ 951903 w 1554480"/>
                  <a:gd name="T83" fmla="*/ 1803349 h 1986279"/>
                  <a:gd name="T84" fmla="*/ 933729 w 1554480"/>
                  <a:gd name="T85" fmla="*/ 1869465 h 1986279"/>
                  <a:gd name="T86" fmla="*/ 951903 w 1554480"/>
                  <a:gd name="T87" fmla="*/ 1934870 h 1986279"/>
                  <a:gd name="T88" fmla="*/ 1024204 w 1554480"/>
                  <a:gd name="T89" fmla="*/ 1984057 h 1986279"/>
                  <a:gd name="T90" fmla="*/ 1204353 w 1554480"/>
                  <a:gd name="T91" fmla="*/ 1986153 h 1986279"/>
                  <a:gd name="T92" fmla="*/ 1339659 w 1554480"/>
                  <a:gd name="T93" fmla="*/ 1958835 h 1986279"/>
                  <a:gd name="T94" fmla="*/ 1452626 w 1554480"/>
                  <a:gd name="T95" fmla="*/ 1881873 h 1986279"/>
                  <a:gd name="T96" fmla="*/ 1509166 w 1554480"/>
                  <a:gd name="T97" fmla="*/ 1811248 h 1986279"/>
                  <a:gd name="T98" fmla="*/ 1543088 w 1554480"/>
                  <a:gd name="T99" fmla="*/ 1728495 h 1986279"/>
                  <a:gd name="T100" fmla="*/ 1554403 w 1554480"/>
                  <a:gd name="T101" fmla="*/ 1633613 h 1986279"/>
                  <a:gd name="T102" fmla="*/ 1554403 w 1554480"/>
                  <a:gd name="T103" fmla="*/ 219760 h 1986279"/>
                  <a:gd name="T104" fmla="*/ 1520888 w 1554480"/>
                  <a:gd name="T105" fmla="*/ 137439 h 1986279"/>
                  <a:gd name="T106" fmla="*/ 1437716 w 1554480"/>
                  <a:gd name="T107" fmla="*/ 104267 h 1986279"/>
                  <a:gd name="T108" fmla="*/ 1371612 w 1554480"/>
                  <a:gd name="T109" fmla="*/ 122936 h 1986279"/>
                  <a:gd name="T110" fmla="*/ 1320711 w 1554480"/>
                  <a:gd name="T111" fmla="*/ 196202 h 1986279"/>
                  <a:gd name="T112" fmla="*/ 1318539 w 1554480"/>
                  <a:gd name="T113" fmla="*/ 222211 h 1986279"/>
                  <a:gd name="T114" fmla="*/ 1353312 w 1554480"/>
                  <a:gd name="T115" fmla="*/ 305765 h 1986279"/>
                  <a:gd name="T116" fmla="*/ 1437716 w 1554480"/>
                  <a:gd name="T117" fmla="*/ 340131 h 1986279"/>
                  <a:gd name="T118" fmla="*/ 1503121 w 1554480"/>
                  <a:gd name="T119" fmla="*/ 320802 h 1986279"/>
                  <a:gd name="T120" fmla="*/ 1552308 w 1554480"/>
                  <a:gd name="T121" fmla="*/ 245859 h 1986279"/>
                  <a:gd name="T122" fmla="*/ 1554403 w 1554480"/>
                  <a:gd name="T123" fmla="*/ 219760 h 1986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54480" h="1986279">
                    <a:moveTo>
                      <a:pt x="1104798" y="821766"/>
                    </a:moveTo>
                    <a:lnTo>
                      <a:pt x="1097965" y="751649"/>
                    </a:lnTo>
                    <a:lnTo>
                      <a:pt x="1077493" y="685215"/>
                    </a:lnTo>
                    <a:lnTo>
                      <a:pt x="1044575" y="625030"/>
                    </a:lnTo>
                    <a:lnTo>
                      <a:pt x="1000531" y="573506"/>
                    </a:lnTo>
                    <a:lnTo>
                      <a:pt x="949007" y="529450"/>
                    </a:lnTo>
                    <a:lnTo>
                      <a:pt x="888822" y="496531"/>
                    </a:lnTo>
                    <a:lnTo>
                      <a:pt x="822375" y="476072"/>
                    </a:lnTo>
                    <a:lnTo>
                      <a:pt x="752259" y="469239"/>
                    </a:lnTo>
                    <a:lnTo>
                      <a:pt x="429514" y="469239"/>
                    </a:lnTo>
                    <a:lnTo>
                      <a:pt x="383565" y="477926"/>
                    </a:lnTo>
                    <a:lnTo>
                      <a:pt x="345109" y="503986"/>
                    </a:lnTo>
                    <a:lnTo>
                      <a:pt x="319024" y="541870"/>
                    </a:lnTo>
                    <a:lnTo>
                      <a:pt x="310349" y="585914"/>
                    </a:lnTo>
                    <a:lnTo>
                      <a:pt x="312508" y="609828"/>
                    </a:lnTo>
                    <a:lnTo>
                      <a:pt x="329882" y="652030"/>
                    </a:lnTo>
                    <a:lnTo>
                      <a:pt x="363397" y="685546"/>
                    </a:lnTo>
                    <a:lnTo>
                      <a:pt x="405599" y="702919"/>
                    </a:lnTo>
                    <a:lnTo>
                      <a:pt x="752259" y="705078"/>
                    </a:lnTo>
                    <a:lnTo>
                      <a:pt x="775055" y="707263"/>
                    </a:lnTo>
                    <a:lnTo>
                      <a:pt x="816025" y="724649"/>
                    </a:lnTo>
                    <a:lnTo>
                      <a:pt x="849388" y="757072"/>
                    </a:lnTo>
                    <a:lnTo>
                      <a:pt x="866775" y="798042"/>
                    </a:lnTo>
                    <a:lnTo>
                      <a:pt x="868946" y="821766"/>
                    </a:lnTo>
                    <a:lnTo>
                      <a:pt x="868946" y="1030325"/>
                    </a:lnTo>
                    <a:lnTo>
                      <a:pt x="860247" y="1078115"/>
                    </a:lnTo>
                    <a:lnTo>
                      <a:pt x="834186" y="1112240"/>
                    </a:lnTo>
                    <a:lnTo>
                      <a:pt x="796315" y="1138326"/>
                    </a:lnTo>
                    <a:lnTo>
                      <a:pt x="752259" y="1147013"/>
                    </a:lnTo>
                    <a:lnTo>
                      <a:pt x="352539" y="1147013"/>
                    </a:lnTo>
                    <a:lnTo>
                      <a:pt x="309092" y="1138326"/>
                    </a:lnTo>
                    <a:lnTo>
                      <a:pt x="268135" y="1112240"/>
                    </a:lnTo>
                    <a:lnTo>
                      <a:pt x="243916" y="1076871"/>
                    </a:lnTo>
                    <a:lnTo>
                      <a:pt x="235851" y="1030325"/>
                    </a:lnTo>
                    <a:lnTo>
                      <a:pt x="235851" y="116687"/>
                    </a:lnTo>
                    <a:lnTo>
                      <a:pt x="233680" y="92887"/>
                    </a:lnTo>
                    <a:lnTo>
                      <a:pt x="216306" y="51295"/>
                    </a:lnTo>
                    <a:lnTo>
                      <a:pt x="182791" y="18859"/>
                    </a:lnTo>
                    <a:lnTo>
                      <a:pt x="140576" y="2095"/>
                    </a:lnTo>
                    <a:lnTo>
                      <a:pt x="116700" y="0"/>
                    </a:lnTo>
                    <a:lnTo>
                      <a:pt x="92862" y="2095"/>
                    </a:lnTo>
                    <a:lnTo>
                      <a:pt x="51282" y="18859"/>
                    </a:lnTo>
                    <a:lnTo>
                      <a:pt x="18859" y="51295"/>
                    </a:lnTo>
                    <a:lnTo>
                      <a:pt x="2095" y="92887"/>
                    </a:lnTo>
                    <a:lnTo>
                      <a:pt x="0" y="116687"/>
                    </a:lnTo>
                    <a:lnTo>
                      <a:pt x="0" y="1030325"/>
                    </a:lnTo>
                    <a:lnTo>
                      <a:pt x="6819" y="1100467"/>
                    </a:lnTo>
                    <a:lnTo>
                      <a:pt x="27330" y="1166876"/>
                    </a:lnTo>
                    <a:lnTo>
                      <a:pt x="60198" y="1227709"/>
                    </a:lnTo>
                    <a:lnTo>
                      <a:pt x="104279" y="1281061"/>
                    </a:lnTo>
                    <a:lnTo>
                      <a:pt x="155473" y="1323289"/>
                    </a:lnTo>
                    <a:lnTo>
                      <a:pt x="214757" y="1355559"/>
                    </a:lnTo>
                    <a:lnTo>
                      <a:pt x="280860" y="1376032"/>
                    </a:lnTo>
                    <a:lnTo>
                      <a:pt x="352539" y="1382852"/>
                    </a:lnTo>
                    <a:lnTo>
                      <a:pt x="752259" y="1382852"/>
                    </a:lnTo>
                    <a:lnTo>
                      <a:pt x="822375" y="1376032"/>
                    </a:lnTo>
                    <a:lnTo>
                      <a:pt x="888822" y="1355559"/>
                    </a:lnTo>
                    <a:lnTo>
                      <a:pt x="949007" y="1323289"/>
                    </a:lnTo>
                    <a:lnTo>
                      <a:pt x="1000531" y="1281061"/>
                    </a:lnTo>
                    <a:lnTo>
                      <a:pt x="1044575" y="1227709"/>
                    </a:lnTo>
                    <a:lnTo>
                      <a:pt x="1077493" y="1166876"/>
                    </a:lnTo>
                    <a:lnTo>
                      <a:pt x="1097965" y="1100467"/>
                    </a:lnTo>
                    <a:lnTo>
                      <a:pt x="1104798" y="1030325"/>
                    </a:lnTo>
                    <a:lnTo>
                      <a:pt x="1104798" y="821766"/>
                    </a:lnTo>
                    <a:close/>
                  </a:path>
                  <a:path w="1554480" h="1986279">
                    <a:moveTo>
                      <a:pt x="1554403" y="603300"/>
                    </a:moveTo>
                    <a:lnTo>
                      <a:pt x="1546021" y="559244"/>
                    </a:lnTo>
                    <a:lnTo>
                      <a:pt x="1520888" y="521373"/>
                    </a:lnTo>
                    <a:lnTo>
                      <a:pt x="1483334" y="495300"/>
                    </a:lnTo>
                    <a:lnTo>
                      <a:pt x="1437716" y="486613"/>
                    </a:lnTo>
                    <a:lnTo>
                      <a:pt x="1413814" y="488784"/>
                    </a:lnTo>
                    <a:lnTo>
                      <a:pt x="1371612" y="506171"/>
                    </a:lnTo>
                    <a:lnTo>
                      <a:pt x="1338084" y="539534"/>
                    </a:lnTo>
                    <a:lnTo>
                      <a:pt x="1320711" y="580504"/>
                    </a:lnTo>
                    <a:lnTo>
                      <a:pt x="1318539" y="603300"/>
                    </a:lnTo>
                    <a:lnTo>
                      <a:pt x="1318539" y="1633613"/>
                    </a:lnTo>
                    <a:lnTo>
                      <a:pt x="1316520" y="1658429"/>
                    </a:lnTo>
                    <a:lnTo>
                      <a:pt x="1300391" y="1700631"/>
                    </a:lnTo>
                    <a:lnTo>
                      <a:pt x="1269034" y="1732127"/>
                    </a:lnTo>
                    <a:lnTo>
                      <a:pt x="1228077" y="1748269"/>
                    </a:lnTo>
                    <a:lnTo>
                      <a:pt x="1204353" y="1750301"/>
                    </a:lnTo>
                    <a:lnTo>
                      <a:pt x="1047940" y="1750301"/>
                    </a:lnTo>
                    <a:lnTo>
                      <a:pt x="1024204" y="1752460"/>
                    </a:lnTo>
                    <a:lnTo>
                      <a:pt x="983246" y="1769833"/>
                    </a:lnTo>
                    <a:lnTo>
                      <a:pt x="951903" y="1803349"/>
                    </a:lnTo>
                    <a:lnTo>
                      <a:pt x="935748" y="1845551"/>
                    </a:lnTo>
                    <a:lnTo>
                      <a:pt x="933729" y="1869465"/>
                    </a:lnTo>
                    <a:lnTo>
                      <a:pt x="935748" y="1893277"/>
                    </a:lnTo>
                    <a:lnTo>
                      <a:pt x="951903" y="1934870"/>
                    </a:lnTo>
                    <a:lnTo>
                      <a:pt x="983246" y="1967293"/>
                    </a:lnTo>
                    <a:lnTo>
                      <a:pt x="1024204" y="1984057"/>
                    </a:lnTo>
                    <a:lnTo>
                      <a:pt x="1047940" y="1986153"/>
                    </a:lnTo>
                    <a:lnTo>
                      <a:pt x="1204353" y="1986153"/>
                    </a:lnTo>
                    <a:lnTo>
                      <a:pt x="1274165" y="1979320"/>
                    </a:lnTo>
                    <a:lnTo>
                      <a:pt x="1339659" y="1958835"/>
                    </a:lnTo>
                    <a:lnTo>
                      <a:pt x="1399540" y="1925929"/>
                    </a:lnTo>
                    <a:lnTo>
                      <a:pt x="1452626" y="1881873"/>
                    </a:lnTo>
                    <a:lnTo>
                      <a:pt x="1483715" y="1848078"/>
                    </a:lnTo>
                    <a:lnTo>
                      <a:pt x="1509166" y="1811248"/>
                    </a:lnTo>
                    <a:lnTo>
                      <a:pt x="1528953" y="1771383"/>
                    </a:lnTo>
                    <a:lnTo>
                      <a:pt x="1543088" y="1728495"/>
                    </a:lnTo>
                    <a:lnTo>
                      <a:pt x="1551571" y="1682559"/>
                    </a:lnTo>
                    <a:lnTo>
                      <a:pt x="1554403" y="1633613"/>
                    </a:lnTo>
                    <a:lnTo>
                      <a:pt x="1554403" y="603300"/>
                    </a:lnTo>
                    <a:close/>
                  </a:path>
                  <a:path w="1554480" h="1986279">
                    <a:moveTo>
                      <a:pt x="1554403" y="219760"/>
                    </a:moveTo>
                    <a:lnTo>
                      <a:pt x="1546021" y="174612"/>
                    </a:lnTo>
                    <a:lnTo>
                      <a:pt x="1520888" y="137439"/>
                    </a:lnTo>
                    <a:lnTo>
                      <a:pt x="1483334" y="112560"/>
                    </a:lnTo>
                    <a:lnTo>
                      <a:pt x="1437716" y="104267"/>
                    </a:lnTo>
                    <a:lnTo>
                      <a:pt x="1413814" y="106349"/>
                    </a:lnTo>
                    <a:lnTo>
                      <a:pt x="1371612" y="122936"/>
                    </a:lnTo>
                    <a:lnTo>
                      <a:pt x="1338084" y="155028"/>
                    </a:lnTo>
                    <a:lnTo>
                      <a:pt x="1320711" y="196202"/>
                    </a:lnTo>
                    <a:lnTo>
                      <a:pt x="1318539" y="219760"/>
                    </a:lnTo>
                    <a:lnTo>
                      <a:pt x="1318539" y="222211"/>
                    </a:lnTo>
                    <a:lnTo>
                      <a:pt x="1327226" y="267677"/>
                    </a:lnTo>
                    <a:lnTo>
                      <a:pt x="1353312" y="305765"/>
                    </a:lnTo>
                    <a:lnTo>
                      <a:pt x="1391780" y="331546"/>
                    </a:lnTo>
                    <a:lnTo>
                      <a:pt x="1437716" y="340131"/>
                    </a:lnTo>
                    <a:lnTo>
                      <a:pt x="1461528" y="337985"/>
                    </a:lnTo>
                    <a:lnTo>
                      <a:pt x="1503121" y="320802"/>
                    </a:lnTo>
                    <a:lnTo>
                      <a:pt x="1535557" y="287642"/>
                    </a:lnTo>
                    <a:lnTo>
                      <a:pt x="1552308" y="245859"/>
                    </a:lnTo>
                    <a:lnTo>
                      <a:pt x="1554403" y="222211"/>
                    </a:lnTo>
                    <a:lnTo>
                      <a:pt x="1554403" y="21976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75" name="object 12"/>
              <p:cNvSpPr>
                <a:spLocks noChangeArrowheads="1"/>
              </p:cNvSpPr>
              <p:nvPr userDrawn="1"/>
            </p:nvSpPr>
            <p:spPr bwMode="auto">
              <a:xfrm>
                <a:off x="13196888" y="7029450"/>
                <a:ext cx="976312" cy="912813"/>
              </a:xfrm>
              <a:custGeom>
                <a:avLst/>
                <a:gdLst>
                  <a:gd name="T0" fmla="*/ 335173 w 975994"/>
                  <a:gd name="T1" fmla="*/ 0 h 913765"/>
                  <a:gd name="T2" fmla="*/ 231116 w 975994"/>
                  <a:gd name="T3" fmla="*/ 13976 h 913765"/>
                  <a:gd name="T4" fmla="*/ 117695 w 975994"/>
                  <a:gd name="T5" fmla="*/ 71851 h 913765"/>
                  <a:gd name="T6" fmla="*/ 38472 w 975994"/>
                  <a:gd name="T7" fmla="*/ 162167 h 913765"/>
                  <a:gd name="T8" fmla="*/ 1549 w 975994"/>
                  <a:gd name="T9" fmla="*/ 274814 h 913765"/>
                  <a:gd name="T10" fmla="*/ 0 w 975994"/>
                  <a:gd name="T11" fmla="*/ 583427 h 913765"/>
                  <a:gd name="T12" fmla="*/ 8383 w 975994"/>
                  <a:gd name="T13" fmla="*/ 664134 h 913765"/>
                  <a:gd name="T14" fmla="*/ 71058 w 975994"/>
                  <a:gd name="T15" fmla="*/ 789184 h 913765"/>
                  <a:gd name="T16" fmla="*/ 168189 w 975994"/>
                  <a:gd name="T17" fmla="*/ 870798 h 913765"/>
                  <a:gd name="T18" fmla="*/ 278664 w 975994"/>
                  <a:gd name="T19" fmla="*/ 908971 h 913765"/>
                  <a:gd name="T20" fmla="*/ 856528 w 975994"/>
                  <a:gd name="T21" fmla="*/ 913626 h 913765"/>
                  <a:gd name="T22" fmla="*/ 940934 w 975994"/>
                  <a:gd name="T23" fmla="*/ 880109 h 913765"/>
                  <a:gd name="T24" fmla="*/ 975698 w 975994"/>
                  <a:gd name="T25" fmla="*/ 796939 h 913765"/>
                  <a:gd name="T26" fmla="*/ 956137 w 975994"/>
                  <a:gd name="T27" fmla="*/ 730848 h 913765"/>
                  <a:gd name="T28" fmla="*/ 880410 w 975994"/>
                  <a:gd name="T29" fmla="*/ 679944 h 913765"/>
                  <a:gd name="T30" fmla="*/ 360286 w 975994"/>
                  <a:gd name="T31" fmla="*/ 675369 h 913765"/>
                  <a:gd name="T32" fmla="*/ 258191 w 975994"/>
                  <a:gd name="T33" fmla="*/ 617030 h 913765"/>
                  <a:gd name="T34" fmla="*/ 235856 w 975994"/>
                  <a:gd name="T35" fmla="*/ 513911 h 913765"/>
                  <a:gd name="T36" fmla="*/ 245468 w 975994"/>
                  <a:gd name="T37" fmla="*/ 318723 h 913765"/>
                  <a:gd name="T38" fmla="*/ 319952 w 975994"/>
                  <a:gd name="T39" fmla="*/ 244864 h 913765"/>
                  <a:gd name="T40" fmla="*/ 692680 w 975994"/>
                  <a:gd name="T41" fmla="*/ 235856 h 913765"/>
                  <a:gd name="T42" fmla="*/ 747286 w 975994"/>
                  <a:gd name="T43" fmla="*/ 296682 h 913765"/>
                  <a:gd name="T44" fmla="*/ 725946 w 975994"/>
                  <a:gd name="T45" fmla="*/ 346817 h 913765"/>
                  <a:gd name="T46" fmla="*/ 407688 w 975994"/>
                  <a:gd name="T47" fmla="*/ 359579 h 913765"/>
                  <a:gd name="T48" fmla="*/ 336319 w 975994"/>
                  <a:gd name="T49" fmla="*/ 407591 h 913765"/>
                  <a:gd name="T50" fmla="*/ 320262 w 975994"/>
                  <a:gd name="T51" fmla="*/ 463022 h 913765"/>
                  <a:gd name="T52" fmla="*/ 336319 w 975994"/>
                  <a:gd name="T53" fmla="*/ 518466 h 913765"/>
                  <a:gd name="T54" fmla="*/ 407688 w 975994"/>
                  <a:gd name="T55" fmla="*/ 566460 h 913765"/>
                  <a:gd name="T56" fmla="*/ 692680 w 975994"/>
                  <a:gd name="T57" fmla="*/ 568527 h 913765"/>
                  <a:gd name="T58" fmla="*/ 782965 w 975994"/>
                  <a:gd name="T59" fmla="*/ 557986 h 913765"/>
                  <a:gd name="T60" fmla="*/ 855282 w 975994"/>
                  <a:gd name="T61" fmla="*/ 526329 h 913765"/>
                  <a:gd name="T62" fmla="*/ 947143 w 975994"/>
                  <a:gd name="T63" fmla="*/ 420814 h 913765"/>
                  <a:gd name="T64" fmla="*/ 970401 w 975994"/>
                  <a:gd name="T65" fmla="*/ 320275 h 913765"/>
                  <a:gd name="T66" fmla="*/ 955516 w 975994"/>
                  <a:gd name="T67" fmla="*/ 213520 h 913765"/>
                  <a:gd name="T68" fmla="*/ 880720 w 975994"/>
                  <a:gd name="T69" fmla="*/ 89694 h 913765"/>
                  <a:gd name="T70" fmla="*/ 819283 w 975994"/>
                  <a:gd name="T71" fmla="*/ 42197 h 913765"/>
                  <a:gd name="T72" fmla="*/ 742935 w 975994"/>
                  <a:gd name="T73" fmla="*/ 10555 h 913765"/>
                  <a:gd name="T74" fmla="*/ 652953 w 975994"/>
                  <a:gd name="T75" fmla="*/ 0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75994" h="913765">
                    <a:moveTo>
                      <a:pt x="652953" y="0"/>
                    </a:moveTo>
                    <a:lnTo>
                      <a:pt x="335173" y="0"/>
                    </a:lnTo>
                    <a:lnTo>
                      <a:pt x="298778" y="1555"/>
                    </a:lnTo>
                    <a:lnTo>
                      <a:pt x="231116" y="13976"/>
                    </a:lnTo>
                    <a:lnTo>
                      <a:pt x="170444" y="38333"/>
                    </a:lnTo>
                    <a:lnTo>
                      <a:pt x="117695" y="71851"/>
                    </a:lnTo>
                    <a:lnTo>
                      <a:pt x="73233" y="113755"/>
                    </a:lnTo>
                    <a:lnTo>
                      <a:pt x="38472" y="162167"/>
                    </a:lnTo>
                    <a:lnTo>
                      <a:pt x="13958" y="216469"/>
                    </a:lnTo>
                    <a:lnTo>
                      <a:pt x="1549" y="274814"/>
                    </a:lnTo>
                    <a:lnTo>
                      <a:pt x="0" y="305372"/>
                    </a:lnTo>
                    <a:lnTo>
                      <a:pt x="0" y="583427"/>
                    </a:lnTo>
                    <a:lnTo>
                      <a:pt x="2096" y="625337"/>
                    </a:lnTo>
                    <a:lnTo>
                      <a:pt x="8383" y="664134"/>
                    </a:lnTo>
                    <a:lnTo>
                      <a:pt x="33517" y="732386"/>
                    </a:lnTo>
                    <a:lnTo>
                      <a:pt x="71058" y="789184"/>
                    </a:lnTo>
                    <a:lnTo>
                      <a:pt x="116687" y="835419"/>
                    </a:lnTo>
                    <a:lnTo>
                      <a:pt x="168189" y="870798"/>
                    </a:lnTo>
                    <a:lnTo>
                      <a:pt x="223438" y="895009"/>
                    </a:lnTo>
                    <a:lnTo>
                      <a:pt x="278664" y="908971"/>
                    </a:lnTo>
                    <a:lnTo>
                      <a:pt x="330199" y="913626"/>
                    </a:lnTo>
                    <a:lnTo>
                      <a:pt x="856528" y="913626"/>
                    </a:lnTo>
                    <a:lnTo>
                      <a:pt x="902438" y="905247"/>
                    </a:lnTo>
                    <a:lnTo>
                      <a:pt x="940934" y="880109"/>
                    </a:lnTo>
                    <a:lnTo>
                      <a:pt x="967001" y="842568"/>
                    </a:lnTo>
                    <a:lnTo>
                      <a:pt x="975698" y="796939"/>
                    </a:lnTo>
                    <a:lnTo>
                      <a:pt x="973523" y="773053"/>
                    </a:lnTo>
                    <a:lnTo>
                      <a:pt x="956137" y="730848"/>
                    </a:lnTo>
                    <a:lnTo>
                      <a:pt x="922613" y="697325"/>
                    </a:lnTo>
                    <a:lnTo>
                      <a:pt x="880410" y="679944"/>
                    </a:lnTo>
                    <a:lnTo>
                      <a:pt x="399705" y="677769"/>
                    </a:lnTo>
                    <a:lnTo>
                      <a:pt x="360286" y="675369"/>
                    </a:lnTo>
                    <a:lnTo>
                      <a:pt x="298216" y="656137"/>
                    </a:lnTo>
                    <a:lnTo>
                      <a:pt x="258191" y="617030"/>
                    </a:lnTo>
                    <a:lnTo>
                      <a:pt x="238336" y="554345"/>
                    </a:lnTo>
                    <a:lnTo>
                      <a:pt x="235856" y="513911"/>
                    </a:lnTo>
                    <a:lnTo>
                      <a:pt x="235856" y="387297"/>
                    </a:lnTo>
                    <a:lnTo>
                      <a:pt x="245468" y="318723"/>
                    </a:lnTo>
                    <a:lnTo>
                      <a:pt x="274337" y="271855"/>
                    </a:lnTo>
                    <a:lnTo>
                      <a:pt x="319952" y="244864"/>
                    </a:lnTo>
                    <a:lnTo>
                      <a:pt x="379852" y="235856"/>
                    </a:lnTo>
                    <a:lnTo>
                      <a:pt x="692680" y="235856"/>
                    </a:lnTo>
                    <a:lnTo>
                      <a:pt x="733632" y="254850"/>
                    </a:lnTo>
                    <a:lnTo>
                      <a:pt x="747286" y="296682"/>
                    </a:lnTo>
                    <a:lnTo>
                      <a:pt x="746429" y="307850"/>
                    </a:lnTo>
                    <a:lnTo>
                      <a:pt x="725946" y="346817"/>
                    </a:lnTo>
                    <a:lnTo>
                      <a:pt x="434468" y="357507"/>
                    </a:lnTo>
                    <a:lnTo>
                      <a:pt x="407688" y="359579"/>
                    </a:lnTo>
                    <a:lnTo>
                      <a:pt x="364864" y="376144"/>
                    </a:lnTo>
                    <a:lnTo>
                      <a:pt x="336319" y="407591"/>
                    </a:lnTo>
                    <a:lnTo>
                      <a:pt x="322045" y="443790"/>
                    </a:lnTo>
                    <a:lnTo>
                      <a:pt x="320262" y="463022"/>
                    </a:lnTo>
                    <a:lnTo>
                      <a:pt x="322045" y="482272"/>
                    </a:lnTo>
                    <a:lnTo>
                      <a:pt x="336319" y="518466"/>
                    </a:lnTo>
                    <a:lnTo>
                      <a:pt x="364864" y="549907"/>
                    </a:lnTo>
                    <a:lnTo>
                      <a:pt x="407688" y="566460"/>
                    </a:lnTo>
                    <a:lnTo>
                      <a:pt x="434468" y="568527"/>
                    </a:lnTo>
                    <a:lnTo>
                      <a:pt x="692680" y="568527"/>
                    </a:lnTo>
                    <a:lnTo>
                      <a:pt x="740065" y="565893"/>
                    </a:lnTo>
                    <a:lnTo>
                      <a:pt x="782965" y="557986"/>
                    </a:lnTo>
                    <a:lnTo>
                      <a:pt x="821374" y="544801"/>
                    </a:lnTo>
                    <a:lnTo>
                      <a:pt x="855282" y="526329"/>
                    </a:lnTo>
                    <a:lnTo>
                      <a:pt x="909895" y="478853"/>
                    </a:lnTo>
                    <a:lnTo>
                      <a:pt x="947143" y="420814"/>
                    </a:lnTo>
                    <a:lnTo>
                      <a:pt x="966982" y="355029"/>
                    </a:lnTo>
                    <a:lnTo>
                      <a:pt x="970401" y="320275"/>
                    </a:lnTo>
                    <a:lnTo>
                      <a:pt x="969488" y="284274"/>
                    </a:lnTo>
                    <a:lnTo>
                      <a:pt x="955516" y="213520"/>
                    </a:lnTo>
                    <a:lnTo>
                      <a:pt x="926034" y="147723"/>
                    </a:lnTo>
                    <a:lnTo>
                      <a:pt x="880720" y="89694"/>
                    </a:lnTo>
                    <a:lnTo>
                      <a:pt x="852015" y="64633"/>
                    </a:lnTo>
                    <a:lnTo>
                      <a:pt x="819283" y="42197"/>
                    </a:lnTo>
                    <a:lnTo>
                      <a:pt x="782813" y="23743"/>
                    </a:lnTo>
                    <a:lnTo>
                      <a:pt x="742935" y="10555"/>
                    </a:lnTo>
                    <a:lnTo>
                      <a:pt x="699648" y="2639"/>
                    </a:lnTo>
                    <a:lnTo>
                      <a:pt x="652953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sp>
        <p:nvSpPr>
          <p:cNvPr id="4" name="矩形 3"/>
          <p:cNvSpPr/>
          <p:nvPr userDrawn="1"/>
        </p:nvSpPr>
        <p:spPr>
          <a:xfrm>
            <a:off x="0" y="1020200"/>
            <a:ext cx="12195820" cy="4798423"/>
          </a:xfrm>
          <a:prstGeom prst="rect">
            <a:avLst/>
          </a:prstGeom>
          <a:solidFill>
            <a:srgbClr val="001E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" name="组合 5"/>
          <p:cNvGrpSpPr/>
          <p:nvPr userDrawn="1"/>
        </p:nvGrpSpPr>
        <p:grpSpPr>
          <a:xfrm>
            <a:off x="3852486" y="3675346"/>
            <a:ext cx="8343336" cy="3024094"/>
            <a:chOff x="3852486" y="3675346"/>
            <a:chExt cx="8343336" cy="3024094"/>
          </a:xfrm>
        </p:grpSpPr>
        <p:pic>
          <p:nvPicPr>
            <p:cNvPr id="5" name="图片 4"/>
            <p:cNvPicPr>
              <a:picLocks noChangeAspect="1"/>
            </p:cNvPicPr>
            <p:nvPr userDrawn="1"/>
          </p:nvPicPr>
          <p:blipFill rotWithShape="1">
            <a:blip r:embed="rId1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44"/>
            <a:stretch>
              <a:fillRect/>
            </a:stretch>
          </p:blipFill>
          <p:spPr>
            <a:xfrm rot="16200000">
              <a:off x="6949459" y="578373"/>
              <a:ext cx="2142748" cy="8336694"/>
            </a:xfrm>
            <a:prstGeom prst="rect">
              <a:avLst/>
            </a:prstGeom>
          </p:spPr>
        </p:pic>
        <p:pic>
          <p:nvPicPr>
            <p:cNvPr id="45" name="图片 44"/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0448"/>
            <a:stretch>
              <a:fillRect/>
            </a:stretch>
          </p:blipFill>
          <p:spPr>
            <a:xfrm rot="16200000">
              <a:off x="7598084" y="2101702"/>
              <a:ext cx="890312" cy="8305164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bg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22618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grpSp>
        <p:nvGrpSpPr>
          <p:cNvPr id="84" name="组合 83"/>
          <p:cNvGrpSpPr/>
          <p:nvPr userDrawn="1"/>
        </p:nvGrpSpPr>
        <p:grpSpPr>
          <a:xfrm>
            <a:off x="10724220" y="182244"/>
            <a:ext cx="1371987" cy="505967"/>
            <a:chOff x="8416113" y="2173527"/>
            <a:chExt cx="2609343" cy="962284"/>
          </a:xfrm>
        </p:grpSpPr>
        <p:sp>
          <p:nvSpPr>
            <p:cNvPr id="85" name="object 56"/>
            <p:cNvSpPr>
              <a:spLocks noChangeArrowheads="1"/>
            </p:cNvSpPr>
            <p:nvPr userDrawn="1"/>
          </p:nvSpPr>
          <p:spPr bwMode="auto">
            <a:xfrm>
              <a:off x="9592223" y="2173527"/>
              <a:ext cx="10347" cy="962284"/>
            </a:xfrm>
            <a:custGeom>
              <a:avLst/>
              <a:gdLst>
                <a:gd name="T0" fmla="*/ 11591 w 12065"/>
                <a:gd name="T1" fmla="*/ 0 h 1180465"/>
                <a:gd name="T2" fmla="*/ 0 w 12065"/>
                <a:gd name="T3" fmla="*/ 0 h 1180465"/>
                <a:gd name="T4" fmla="*/ 0 w 12065"/>
                <a:gd name="T5" fmla="*/ 1180131 h 1180465"/>
                <a:gd name="T6" fmla="*/ 11591 w 12065"/>
                <a:gd name="T7" fmla="*/ 1180131 h 1180465"/>
                <a:gd name="T8" fmla="*/ 11591 w 12065"/>
                <a:gd name="T9" fmla="*/ 0 h 1180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65" h="1180465">
                  <a:moveTo>
                    <a:pt x="11591" y="0"/>
                  </a:moveTo>
                  <a:lnTo>
                    <a:pt x="0" y="0"/>
                  </a:lnTo>
                  <a:lnTo>
                    <a:pt x="0" y="1180131"/>
                  </a:lnTo>
                  <a:lnTo>
                    <a:pt x="11591" y="1180131"/>
                  </a:lnTo>
                  <a:lnTo>
                    <a:pt x="11591" y="0"/>
                  </a:lnTo>
                  <a:close/>
                </a:path>
              </a:pathLst>
            </a:custGeom>
            <a:solidFill>
              <a:srgbClr val="6C6C6C"/>
            </a:solidFill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86" name="组合 85"/>
            <p:cNvGrpSpPr/>
            <p:nvPr userDrawn="1"/>
          </p:nvGrpSpPr>
          <p:grpSpPr>
            <a:xfrm>
              <a:off x="9799320" y="2181287"/>
              <a:ext cx="1226136" cy="946763"/>
              <a:chOff x="3252153" y="2959418"/>
              <a:chExt cx="1504950" cy="1162050"/>
            </a:xfrm>
          </p:grpSpPr>
          <p:grpSp>
            <p:nvGrpSpPr>
              <p:cNvPr id="99" name="object 57"/>
              <p:cNvGrpSpPr/>
              <p:nvPr userDrawn="1"/>
            </p:nvGrpSpPr>
            <p:grpSpPr bwMode="auto">
              <a:xfrm>
                <a:off x="3255328" y="4003993"/>
                <a:ext cx="1477962" cy="117475"/>
                <a:chOff x="9666427" y="7834490"/>
                <a:chExt cx="1477645" cy="116839"/>
              </a:xfrm>
            </p:grpSpPr>
            <p:pic>
              <p:nvPicPr>
                <p:cNvPr id="111" name="object 58"/>
                <p:cNvPicPr>
                  <a:picLocks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31655" y="7836230"/>
                  <a:ext cx="104426" cy="1123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2" name="object 59"/>
                <p:cNvSpPr>
                  <a:spLocks noChangeArrowheads="1"/>
                </p:cNvSpPr>
                <p:nvPr/>
              </p:nvSpPr>
              <p:spPr bwMode="auto">
                <a:xfrm>
                  <a:off x="10002407" y="7889309"/>
                  <a:ext cx="43815" cy="19685"/>
                </a:xfrm>
                <a:custGeom>
                  <a:avLst/>
                  <a:gdLst>
                    <a:gd name="T0" fmla="*/ 43464 w 43815"/>
                    <a:gd name="T1" fmla="*/ 0 h 19684"/>
                    <a:gd name="T2" fmla="*/ 0 w 43815"/>
                    <a:gd name="T3" fmla="*/ 0 h 19684"/>
                    <a:gd name="T4" fmla="*/ 0 w 43815"/>
                    <a:gd name="T5" fmla="*/ 19266 h 19684"/>
                    <a:gd name="T6" fmla="*/ 43464 w 43815"/>
                    <a:gd name="T7" fmla="*/ 19266 h 19684"/>
                    <a:gd name="T8" fmla="*/ 43464 w 43815"/>
                    <a:gd name="T9" fmla="*/ 0 h 19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815" h="19684">
                      <a:moveTo>
                        <a:pt x="43464" y="0"/>
                      </a:moveTo>
                      <a:lnTo>
                        <a:pt x="0" y="0"/>
                      </a:lnTo>
                      <a:lnTo>
                        <a:pt x="0" y="19266"/>
                      </a:lnTo>
                      <a:lnTo>
                        <a:pt x="43464" y="19266"/>
                      </a:lnTo>
                      <a:lnTo>
                        <a:pt x="43464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13" name="object 60"/>
                <p:cNvPicPr>
                  <a:picLocks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065354" y="7835727"/>
                  <a:ext cx="222169" cy="1150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4" name="object 61"/>
                <p:cNvSpPr>
                  <a:spLocks noChangeArrowheads="1"/>
                </p:cNvSpPr>
                <p:nvPr/>
              </p:nvSpPr>
              <p:spPr bwMode="auto">
                <a:xfrm>
                  <a:off x="10313721" y="7836960"/>
                  <a:ext cx="58419" cy="111760"/>
                </a:xfrm>
                <a:custGeom>
                  <a:avLst/>
                  <a:gdLst>
                    <a:gd name="T0" fmla="*/ 57975 w 58420"/>
                    <a:gd name="T1" fmla="*/ 92710 h 111759"/>
                    <a:gd name="T2" fmla="*/ 21450 w 58420"/>
                    <a:gd name="T3" fmla="*/ 92710 h 111759"/>
                    <a:gd name="T4" fmla="*/ 21450 w 58420"/>
                    <a:gd name="T5" fmla="*/ 0 h 111759"/>
                    <a:gd name="T6" fmla="*/ 0 w 58420"/>
                    <a:gd name="T7" fmla="*/ 0 h 111759"/>
                    <a:gd name="T8" fmla="*/ 0 w 58420"/>
                    <a:gd name="T9" fmla="*/ 92710 h 111759"/>
                    <a:gd name="T10" fmla="*/ 0 w 58420"/>
                    <a:gd name="T11" fmla="*/ 111760 h 111759"/>
                    <a:gd name="T12" fmla="*/ 57975 w 58420"/>
                    <a:gd name="T13" fmla="*/ 111760 h 111759"/>
                    <a:gd name="T14" fmla="*/ 57975 w 58420"/>
                    <a:gd name="T15" fmla="*/ 92710 h 111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420" h="111759">
                      <a:moveTo>
                        <a:pt x="57975" y="92710"/>
                      </a:moveTo>
                      <a:lnTo>
                        <a:pt x="21450" y="92710"/>
                      </a:lnTo>
                      <a:lnTo>
                        <a:pt x="21450" y="0"/>
                      </a:lnTo>
                      <a:lnTo>
                        <a:pt x="0" y="0"/>
                      </a:lnTo>
                      <a:lnTo>
                        <a:pt x="0" y="92710"/>
                      </a:lnTo>
                      <a:lnTo>
                        <a:pt x="0" y="111760"/>
                      </a:lnTo>
                      <a:lnTo>
                        <a:pt x="57975" y="111760"/>
                      </a:lnTo>
                      <a:lnTo>
                        <a:pt x="57975" y="9271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15" name="object 62"/>
                <p:cNvPicPr>
                  <a:picLocks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394926" y="7834992"/>
                  <a:ext cx="334506" cy="1162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6" name="object 63"/>
                <p:cNvPicPr>
                  <a:picLocks noChangeArrowheads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44226" y="7834490"/>
                  <a:ext cx="95033" cy="11625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7" name="object 64"/>
                <p:cNvSpPr>
                  <a:spLocks noChangeArrowheads="1"/>
                </p:cNvSpPr>
                <p:nvPr/>
              </p:nvSpPr>
              <p:spPr bwMode="auto">
                <a:xfrm>
                  <a:off x="10966421" y="7836226"/>
                  <a:ext cx="61594" cy="112395"/>
                </a:xfrm>
                <a:custGeom>
                  <a:avLst/>
                  <a:gdLst>
                    <a:gd name="T0" fmla="*/ 60971 w 61595"/>
                    <a:gd name="T1" fmla="*/ 0 h 112395"/>
                    <a:gd name="T2" fmla="*/ 0 w 61595"/>
                    <a:gd name="T3" fmla="*/ 0 h 112395"/>
                    <a:gd name="T4" fmla="*/ 0 w 61595"/>
                    <a:gd name="T5" fmla="*/ 112321 h 112395"/>
                    <a:gd name="T6" fmla="*/ 60971 w 61595"/>
                    <a:gd name="T7" fmla="*/ 112321 h 112395"/>
                    <a:gd name="T8" fmla="*/ 60971 w 61595"/>
                    <a:gd name="T9" fmla="*/ 93808 h 112395"/>
                    <a:gd name="T10" fmla="*/ 21727 w 61595"/>
                    <a:gd name="T11" fmla="*/ 93808 h 112395"/>
                    <a:gd name="T12" fmla="*/ 21727 w 61595"/>
                    <a:gd name="T13" fmla="*/ 63453 h 112395"/>
                    <a:gd name="T14" fmla="*/ 59013 w 61595"/>
                    <a:gd name="T15" fmla="*/ 63453 h 112395"/>
                    <a:gd name="T16" fmla="*/ 59013 w 61595"/>
                    <a:gd name="T17" fmla="*/ 45663 h 112395"/>
                    <a:gd name="T18" fmla="*/ 21727 w 61595"/>
                    <a:gd name="T19" fmla="*/ 45663 h 112395"/>
                    <a:gd name="T20" fmla="*/ 21727 w 61595"/>
                    <a:gd name="T21" fmla="*/ 18271 h 112395"/>
                    <a:gd name="T22" fmla="*/ 60971 w 61595"/>
                    <a:gd name="T23" fmla="*/ 18271 h 112395"/>
                    <a:gd name="T24" fmla="*/ 60971 w 61595"/>
                    <a:gd name="T2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1595" h="112395">
                      <a:moveTo>
                        <a:pt x="60971" y="0"/>
                      </a:moveTo>
                      <a:lnTo>
                        <a:pt x="0" y="0"/>
                      </a:lnTo>
                      <a:lnTo>
                        <a:pt x="0" y="112321"/>
                      </a:lnTo>
                      <a:lnTo>
                        <a:pt x="60971" y="112321"/>
                      </a:lnTo>
                      <a:lnTo>
                        <a:pt x="60971" y="93808"/>
                      </a:lnTo>
                      <a:lnTo>
                        <a:pt x="21727" y="93808"/>
                      </a:lnTo>
                      <a:lnTo>
                        <a:pt x="21727" y="63453"/>
                      </a:lnTo>
                      <a:lnTo>
                        <a:pt x="59013" y="63453"/>
                      </a:lnTo>
                      <a:lnTo>
                        <a:pt x="59013" y="45663"/>
                      </a:lnTo>
                      <a:lnTo>
                        <a:pt x="21727" y="45663"/>
                      </a:lnTo>
                      <a:lnTo>
                        <a:pt x="21727" y="18271"/>
                      </a:lnTo>
                      <a:lnTo>
                        <a:pt x="60971" y="18271"/>
                      </a:lnTo>
                      <a:lnTo>
                        <a:pt x="60971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18" name="object 65"/>
                <p:cNvPicPr>
                  <a:picLocks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051085" y="7836233"/>
                  <a:ext cx="92845" cy="112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9" name="object 66"/>
                <p:cNvSpPr>
                  <a:spLocks noChangeArrowheads="1"/>
                </p:cNvSpPr>
                <p:nvPr/>
              </p:nvSpPr>
              <p:spPr bwMode="auto">
                <a:xfrm>
                  <a:off x="9666414" y="7836960"/>
                  <a:ext cx="318770" cy="112395"/>
                </a:xfrm>
                <a:custGeom>
                  <a:avLst/>
                  <a:gdLst>
                    <a:gd name="T0" fmla="*/ 57785 w 318770"/>
                    <a:gd name="T1" fmla="*/ 0 h 112395"/>
                    <a:gd name="T2" fmla="*/ 0 w 318770"/>
                    <a:gd name="T3" fmla="*/ 0 h 112395"/>
                    <a:gd name="T4" fmla="*/ 0 w 318770"/>
                    <a:gd name="T5" fmla="*/ 112331 h 112395"/>
                    <a:gd name="T6" fmla="*/ 22212 w 318770"/>
                    <a:gd name="T7" fmla="*/ 112331 h 112395"/>
                    <a:gd name="T8" fmla="*/ 22212 w 318770"/>
                    <a:gd name="T9" fmla="*/ 65913 h 112395"/>
                    <a:gd name="T10" fmla="*/ 57785 w 318770"/>
                    <a:gd name="T11" fmla="*/ 65913 h 112395"/>
                    <a:gd name="T12" fmla="*/ 57785 w 318770"/>
                    <a:gd name="T13" fmla="*/ 44691 h 112395"/>
                    <a:gd name="T14" fmla="*/ 22212 w 318770"/>
                    <a:gd name="T15" fmla="*/ 44691 h 112395"/>
                    <a:gd name="T16" fmla="*/ 22212 w 318770"/>
                    <a:gd name="T17" fmla="*/ 21247 h 112395"/>
                    <a:gd name="T18" fmla="*/ 57785 w 318770"/>
                    <a:gd name="T19" fmla="*/ 21247 h 112395"/>
                    <a:gd name="T20" fmla="*/ 57785 w 318770"/>
                    <a:gd name="T21" fmla="*/ 0 h 112395"/>
                    <a:gd name="T22" fmla="*/ 176022 w 318770"/>
                    <a:gd name="T23" fmla="*/ 112344 h 112395"/>
                    <a:gd name="T24" fmla="*/ 167894 w 318770"/>
                    <a:gd name="T25" fmla="*/ 89623 h 112395"/>
                    <a:gd name="T26" fmla="*/ 160642 w 318770"/>
                    <a:gd name="T27" fmla="*/ 69380 h 112395"/>
                    <a:gd name="T28" fmla="*/ 144729 w 318770"/>
                    <a:gd name="T29" fmla="*/ 24942 h 112395"/>
                    <a:gd name="T30" fmla="*/ 138506 w 318770"/>
                    <a:gd name="T31" fmla="*/ 7569 h 112395"/>
                    <a:gd name="T32" fmla="*/ 138506 w 318770"/>
                    <a:gd name="T33" fmla="*/ 69380 h 112395"/>
                    <a:gd name="T34" fmla="*/ 109359 w 318770"/>
                    <a:gd name="T35" fmla="*/ 69380 h 112395"/>
                    <a:gd name="T36" fmla="*/ 123926 w 318770"/>
                    <a:gd name="T37" fmla="*/ 24942 h 112395"/>
                    <a:gd name="T38" fmla="*/ 138506 w 318770"/>
                    <a:gd name="T39" fmla="*/ 69380 h 112395"/>
                    <a:gd name="T40" fmla="*/ 138506 w 318770"/>
                    <a:gd name="T41" fmla="*/ 7569 h 112395"/>
                    <a:gd name="T42" fmla="*/ 135801 w 318770"/>
                    <a:gd name="T43" fmla="*/ 12 h 112395"/>
                    <a:gd name="T44" fmla="*/ 112090 w 318770"/>
                    <a:gd name="T45" fmla="*/ 12 h 112395"/>
                    <a:gd name="T46" fmla="*/ 71589 w 318770"/>
                    <a:gd name="T47" fmla="*/ 112344 h 112395"/>
                    <a:gd name="T48" fmla="*/ 95529 w 318770"/>
                    <a:gd name="T49" fmla="*/ 112344 h 112395"/>
                    <a:gd name="T50" fmla="*/ 102946 w 318770"/>
                    <a:gd name="T51" fmla="*/ 89623 h 112395"/>
                    <a:gd name="T52" fmla="*/ 144932 w 318770"/>
                    <a:gd name="T53" fmla="*/ 89623 h 112395"/>
                    <a:gd name="T54" fmla="*/ 152069 w 318770"/>
                    <a:gd name="T55" fmla="*/ 112344 h 112395"/>
                    <a:gd name="T56" fmla="*/ 176022 w 318770"/>
                    <a:gd name="T57" fmla="*/ 112344 h 112395"/>
                    <a:gd name="T58" fmla="*/ 318223 w 318770"/>
                    <a:gd name="T59" fmla="*/ 0 h 112395"/>
                    <a:gd name="T60" fmla="*/ 296735 w 318770"/>
                    <a:gd name="T61" fmla="*/ 0 h 112395"/>
                    <a:gd name="T62" fmla="*/ 276999 w 318770"/>
                    <a:gd name="T63" fmla="*/ 78511 h 112395"/>
                    <a:gd name="T64" fmla="*/ 260451 w 318770"/>
                    <a:gd name="T65" fmla="*/ 0 h 112395"/>
                    <a:gd name="T66" fmla="*/ 235762 w 318770"/>
                    <a:gd name="T67" fmla="*/ 0 h 112395"/>
                    <a:gd name="T68" fmla="*/ 218973 w 318770"/>
                    <a:gd name="T69" fmla="*/ 78511 h 112395"/>
                    <a:gd name="T70" fmla="*/ 199224 w 318770"/>
                    <a:gd name="T71" fmla="*/ 0 h 112395"/>
                    <a:gd name="T72" fmla="*/ 177736 w 318770"/>
                    <a:gd name="T73" fmla="*/ 0 h 112395"/>
                    <a:gd name="T74" fmla="*/ 207124 w 318770"/>
                    <a:gd name="T75" fmla="*/ 112331 h 112395"/>
                    <a:gd name="T76" fmla="*/ 232308 w 318770"/>
                    <a:gd name="T77" fmla="*/ 112331 h 112395"/>
                    <a:gd name="T78" fmla="*/ 248094 w 318770"/>
                    <a:gd name="T79" fmla="*/ 35560 h 112395"/>
                    <a:gd name="T80" fmla="*/ 263906 w 318770"/>
                    <a:gd name="T81" fmla="*/ 112331 h 112395"/>
                    <a:gd name="T82" fmla="*/ 288836 w 318770"/>
                    <a:gd name="T83" fmla="*/ 112331 h 112395"/>
                    <a:gd name="T84" fmla="*/ 318223 w 318770"/>
                    <a:gd name="T8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318770" h="112395">
                      <a:moveTo>
                        <a:pt x="57785" y="0"/>
                      </a:moveTo>
                      <a:lnTo>
                        <a:pt x="0" y="0"/>
                      </a:lnTo>
                      <a:lnTo>
                        <a:pt x="0" y="112331"/>
                      </a:lnTo>
                      <a:lnTo>
                        <a:pt x="22212" y="112331"/>
                      </a:lnTo>
                      <a:lnTo>
                        <a:pt x="22212" y="65913"/>
                      </a:lnTo>
                      <a:lnTo>
                        <a:pt x="57785" y="65913"/>
                      </a:lnTo>
                      <a:lnTo>
                        <a:pt x="57785" y="44691"/>
                      </a:lnTo>
                      <a:lnTo>
                        <a:pt x="22212" y="44691"/>
                      </a:lnTo>
                      <a:lnTo>
                        <a:pt x="22212" y="21247"/>
                      </a:lnTo>
                      <a:lnTo>
                        <a:pt x="57785" y="21247"/>
                      </a:lnTo>
                      <a:lnTo>
                        <a:pt x="57785" y="0"/>
                      </a:lnTo>
                      <a:close/>
                    </a:path>
                    <a:path w="318770" h="112395">
                      <a:moveTo>
                        <a:pt x="176022" y="112344"/>
                      </a:moveTo>
                      <a:lnTo>
                        <a:pt x="167894" y="89623"/>
                      </a:lnTo>
                      <a:lnTo>
                        <a:pt x="160642" y="69380"/>
                      </a:lnTo>
                      <a:lnTo>
                        <a:pt x="144729" y="24942"/>
                      </a:lnTo>
                      <a:lnTo>
                        <a:pt x="138506" y="7569"/>
                      </a:lnTo>
                      <a:lnTo>
                        <a:pt x="138506" y="69380"/>
                      </a:lnTo>
                      <a:lnTo>
                        <a:pt x="109359" y="69380"/>
                      </a:lnTo>
                      <a:lnTo>
                        <a:pt x="123926" y="24942"/>
                      </a:lnTo>
                      <a:lnTo>
                        <a:pt x="138506" y="69380"/>
                      </a:lnTo>
                      <a:lnTo>
                        <a:pt x="138506" y="7569"/>
                      </a:lnTo>
                      <a:lnTo>
                        <a:pt x="135801" y="12"/>
                      </a:lnTo>
                      <a:lnTo>
                        <a:pt x="112090" y="12"/>
                      </a:lnTo>
                      <a:lnTo>
                        <a:pt x="71589" y="112344"/>
                      </a:lnTo>
                      <a:lnTo>
                        <a:pt x="95529" y="112344"/>
                      </a:lnTo>
                      <a:lnTo>
                        <a:pt x="102946" y="89623"/>
                      </a:lnTo>
                      <a:lnTo>
                        <a:pt x="144932" y="89623"/>
                      </a:lnTo>
                      <a:lnTo>
                        <a:pt x="152069" y="112344"/>
                      </a:lnTo>
                      <a:lnTo>
                        <a:pt x="176022" y="112344"/>
                      </a:lnTo>
                      <a:close/>
                    </a:path>
                    <a:path w="318770" h="112395">
                      <a:moveTo>
                        <a:pt x="318223" y="0"/>
                      </a:moveTo>
                      <a:lnTo>
                        <a:pt x="296735" y="0"/>
                      </a:lnTo>
                      <a:lnTo>
                        <a:pt x="276999" y="78511"/>
                      </a:lnTo>
                      <a:lnTo>
                        <a:pt x="260451" y="0"/>
                      </a:lnTo>
                      <a:lnTo>
                        <a:pt x="235762" y="0"/>
                      </a:lnTo>
                      <a:lnTo>
                        <a:pt x="218973" y="78511"/>
                      </a:lnTo>
                      <a:lnTo>
                        <a:pt x="199224" y="0"/>
                      </a:lnTo>
                      <a:lnTo>
                        <a:pt x="177736" y="0"/>
                      </a:lnTo>
                      <a:lnTo>
                        <a:pt x="207124" y="112331"/>
                      </a:lnTo>
                      <a:lnTo>
                        <a:pt x="232308" y="112331"/>
                      </a:lnTo>
                      <a:lnTo>
                        <a:pt x="248094" y="35560"/>
                      </a:lnTo>
                      <a:lnTo>
                        <a:pt x="263906" y="112331"/>
                      </a:lnTo>
                      <a:lnTo>
                        <a:pt x="288836" y="112331"/>
                      </a:lnTo>
                      <a:lnTo>
                        <a:pt x="318223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grpSp>
            <p:nvGrpSpPr>
              <p:cNvPr id="100" name="object 67"/>
              <p:cNvGrpSpPr/>
              <p:nvPr userDrawn="1"/>
            </p:nvGrpSpPr>
            <p:grpSpPr bwMode="auto">
              <a:xfrm>
                <a:off x="3255328" y="3664268"/>
                <a:ext cx="1479550" cy="282575"/>
                <a:chOff x="9666940" y="7495307"/>
                <a:chExt cx="1479550" cy="281940"/>
              </a:xfrm>
            </p:grpSpPr>
            <p:sp>
              <p:nvSpPr>
                <p:cNvPr id="107" name="object 68"/>
                <p:cNvSpPr>
                  <a:spLocks noChangeArrowheads="1"/>
                </p:cNvSpPr>
                <p:nvPr/>
              </p:nvSpPr>
              <p:spPr bwMode="auto">
                <a:xfrm>
                  <a:off x="9666935" y="7603940"/>
                  <a:ext cx="763270" cy="50165"/>
                </a:xfrm>
                <a:custGeom>
                  <a:avLst/>
                  <a:gdLst>
                    <a:gd name="T0" fmla="*/ 270040 w 763270"/>
                    <a:gd name="T1" fmla="*/ 977 h 50165"/>
                    <a:gd name="T2" fmla="*/ 0 w 763270"/>
                    <a:gd name="T3" fmla="*/ 977 h 50165"/>
                    <a:gd name="T4" fmla="*/ 0 w 763270"/>
                    <a:gd name="T5" fmla="*/ 49606 h 50165"/>
                    <a:gd name="T6" fmla="*/ 270040 w 763270"/>
                    <a:gd name="T7" fmla="*/ 49606 h 50165"/>
                    <a:gd name="T8" fmla="*/ 270040 w 763270"/>
                    <a:gd name="T9" fmla="*/ 977 h 50165"/>
                    <a:gd name="T10" fmla="*/ 762787 w 763270"/>
                    <a:gd name="T11" fmla="*/ 0 h 50165"/>
                    <a:gd name="T12" fmla="*/ 665772 w 763270"/>
                    <a:gd name="T13" fmla="*/ 0 h 50165"/>
                    <a:gd name="T14" fmla="*/ 665772 w 763270"/>
                    <a:gd name="T15" fmla="*/ 46405 h 50165"/>
                    <a:gd name="T16" fmla="*/ 762787 w 763270"/>
                    <a:gd name="T17" fmla="*/ 46405 h 50165"/>
                    <a:gd name="T18" fmla="*/ 762787 w 763270"/>
                    <a:gd name="T19" fmla="*/ 0 h 50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63270" h="50165">
                      <a:moveTo>
                        <a:pt x="270040" y="977"/>
                      </a:moveTo>
                      <a:lnTo>
                        <a:pt x="0" y="977"/>
                      </a:lnTo>
                      <a:lnTo>
                        <a:pt x="0" y="49606"/>
                      </a:lnTo>
                      <a:lnTo>
                        <a:pt x="270040" y="49606"/>
                      </a:lnTo>
                      <a:lnTo>
                        <a:pt x="270040" y="977"/>
                      </a:lnTo>
                      <a:close/>
                    </a:path>
                    <a:path w="763270" h="50165">
                      <a:moveTo>
                        <a:pt x="762787" y="0"/>
                      </a:moveTo>
                      <a:lnTo>
                        <a:pt x="665772" y="0"/>
                      </a:lnTo>
                      <a:lnTo>
                        <a:pt x="665772" y="46405"/>
                      </a:lnTo>
                      <a:lnTo>
                        <a:pt x="762787" y="46405"/>
                      </a:lnTo>
                      <a:lnTo>
                        <a:pt x="762787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08" name="object 69"/>
                <p:cNvPicPr>
                  <a:picLocks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977469" y="7495307"/>
                  <a:ext cx="312532" cy="2814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09" name="object 70"/>
                <p:cNvPicPr>
                  <a:picLocks noChangeArrowheads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20519" y="7617008"/>
                  <a:ext cx="325636" cy="1597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10" name="object 71"/>
                <p:cNvSpPr>
                  <a:spLocks noChangeArrowheads="1"/>
                </p:cNvSpPr>
                <p:nvPr/>
              </p:nvSpPr>
              <p:spPr bwMode="auto">
                <a:xfrm>
                  <a:off x="10464304" y="7495799"/>
                  <a:ext cx="675005" cy="281305"/>
                </a:xfrm>
                <a:custGeom>
                  <a:avLst/>
                  <a:gdLst>
                    <a:gd name="T0" fmla="*/ 313512 w 675004"/>
                    <a:gd name="T1" fmla="*/ 238721 h 281304"/>
                    <a:gd name="T2" fmla="*/ 304380 w 675004"/>
                    <a:gd name="T3" fmla="*/ 238721 h 281304"/>
                    <a:gd name="T4" fmla="*/ 295198 w 675004"/>
                    <a:gd name="T5" fmla="*/ 237807 h 281304"/>
                    <a:gd name="T6" fmla="*/ 288391 w 675004"/>
                    <a:gd name="T7" fmla="*/ 234873 h 281304"/>
                    <a:gd name="T8" fmla="*/ 282778 w 675004"/>
                    <a:gd name="T9" fmla="*/ 229666 h 281304"/>
                    <a:gd name="T10" fmla="*/ 277202 w 675004"/>
                    <a:gd name="T11" fmla="*/ 221932 h 281304"/>
                    <a:gd name="T12" fmla="*/ 196989 w 675004"/>
                    <a:gd name="T13" fmla="*/ 86906 h 281304"/>
                    <a:gd name="T14" fmla="*/ 312521 w 675004"/>
                    <a:gd name="T15" fmla="*/ 86906 h 281304"/>
                    <a:gd name="T16" fmla="*/ 312521 w 675004"/>
                    <a:gd name="T17" fmla="*/ 40487 h 281304"/>
                    <a:gd name="T18" fmla="*/ 186118 w 675004"/>
                    <a:gd name="T19" fmla="*/ 40487 h 281304"/>
                    <a:gd name="T20" fmla="*/ 186118 w 675004"/>
                    <a:gd name="T21" fmla="*/ 0 h 281304"/>
                    <a:gd name="T22" fmla="*/ 126873 w 675004"/>
                    <a:gd name="T23" fmla="*/ 0 h 281304"/>
                    <a:gd name="T24" fmla="*/ 126873 w 675004"/>
                    <a:gd name="T25" fmla="*/ 40487 h 281304"/>
                    <a:gd name="T26" fmla="*/ 965 w 675004"/>
                    <a:gd name="T27" fmla="*/ 40487 h 281304"/>
                    <a:gd name="T28" fmla="*/ 965 w 675004"/>
                    <a:gd name="T29" fmla="*/ 86906 h 281304"/>
                    <a:gd name="T30" fmla="*/ 116522 w 675004"/>
                    <a:gd name="T31" fmla="*/ 86906 h 281304"/>
                    <a:gd name="T32" fmla="*/ 36258 w 675004"/>
                    <a:gd name="T33" fmla="*/ 221932 h 281304"/>
                    <a:gd name="T34" fmla="*/ 30480 w 675004"/>
                    <a:gd name="T35" fmla="*/ 229666 h 281304"/>
                    <a:gd name="T36" fmla="*/ 24396 w 675004"/>
                    <a:gd name="T37" fmla="*/ 234873 h 281304"/>
                    <a:gd name="T38" fmla="*/ 17157 w 675004"/>
                    <a:gd name="T39" fmla="*/ 237807 h 281304"/>
                    <a:gd name="T40" fmla="*/ 7899 w 675004"/>
                    <a:gd name="T41" fmla="*/ 238721 h 281304"/>
                    <a:gd name="T42" fmla="*/ 0 w 675004"/>
                    <a:gd name="T43" fmla="*/ 238721 h 281304"/>
                    <a:gd name="T44" fmla="*/ 0 w 675004"/>
                    <a:gd name="T45" fmla="*/ 280936 h 281304"/>
                    <a:gd name="T46" fmla="*/ 22707 w 675004"/>
                    <a:gd name="T47" fmla="*/ 280936 h 281304"/>
                    <a:gd name="T48" fmla="*/ 42532 w 675004"/>
                    <a:gd name="T49" fmla="*/ 280479 h 281304"/>
                    <a:gd name="T50" fmla="*/ 57848 w 675004"/>
                    <a:gd name="T51" fmla="*/ 277317 h 281304"/>
                    <a:gd name="T52" fmla="*/ 70713 w 675004"/>
                    <a:gd name="T53" fmla="*/ 268744 h 281304"/>
                    <a:gd name="T54" fmla="*/ 83172 w 675004"/>
                    <a:gd name="T55" fmla="*/ 252056 h 281304"/>
                    <a:gd name="T56" fmla="*/ 156756 w 675004"/>
                    <a:gd name="T57" fmla="*/ 129120 h 281304"/>
                    <a:gd name="T58" fmla="*/ 230314 w 675004"/>
                    <a:gd name="T59" fmla="*/ 252056 h 281304"/>
                    <a:gd name="T60" fmla="*/ 242646 w 675004"/>
                    <a:gd name="T61" fmla="*/ 268744 h 281304"/>
                    <a:gd name="T62" fmla="*/ 255460 w 675004"/>
                    <a:gd name="T63" fmla="*/ 277317 h 281304"/>
                    <a:gd name="T64" fmla="*/ 270827 w 675004"/>
                    <a:gd name="T65" fmla="*/ 280479 h 281304"/>
                    <a:gd name="T66" fmla="*/ 290791 w 675004"/>
                    <a:gd name="T67" fmla="*/ 280936 h 281304"/>
                    <a:gd name="T68" fmla="*/ 313512 w 675004"/>
                    <a:gd name="T69" fmla="*/ 280936 h 281304"/>
                    <a:gd name="T70" fmla="*/ 313512 w 675004"/>
                    <a:gd name="T71" fmla="*/ 238721 h 281304"/>
                    <a:gd name="T72" fmla="*/ 674928 w 675004"/>
                    <a:gd name="T73" fmla="*/ 68872 h 281304"/>
                    <a:gd name="T74" fmla="*/ 653173 w 675004"/>
                    <a:gd name="T75" fmla="*/ 68872 h 281304"/>
                    <a:gd name="T76" fmla="*/ 622833 w 675004"/>
                    <a:gd name="T77" fmla="*/ 3213 h 281304"/>
                    <a:gd name="T78" fmla="*/ 419658 w 675004"/>
                    <a:gd name="T79" fmla="*/ 3213 h 281304"/>
                    <a:gd name="T80" fmla="*/ 395960 w 675004"/>
                    <a:gd name="T81" fmla="*/ 54330 h 281304"/>
                    <a:gd name="T82" fmla="*/ 389064 w 675004"/>
                    <a:gd name="T83" fmla="*/ 68872 h 281304"/>
                    <a:gd name="T84" fmla="*/ 367347 w 675004"/>
                    <a:gd name="T85" fmla="*/ 68872 h 281304"/>
                    <a:gd name="T86" fmla="*/ 367347 w 675004"/>
                    <a:gd name="T87" fmla="*/ 110591 h 281304"/>
                    <a:gd name="T88" fmla="*/ 396963 w 675004"/>
                    <a:gd name="T89" fmla="*/ 110591 h 281304"/>
                    <a:gd name="T90" fmla="*/ 411289 w 675004"/>
                    <a:gd name="T91" fmla="*/ 109651 h 281304"/>
                    <a:gd name="T92" fmla="*/ 422592 w 675004"/>
                    <a:gd name="T93" fmla="*/ 106095 h 281304"/>
                    <a:gd name="T94" fmla="*/ 431622 w 675004"/>
                    <a:gd name="T95" fmla="*/ 98729 h 281304"/>
                    <a:gd name="T96" fmla="*/ 439153 w 675004"/>
                    <a:gd name="T97" fmla="*/ 86423 h 281304"/>
                    <a:gd name="T98" fmla="*/ 455942 w 675004"/>
                    <a:gd name="T99" fmla="*/ 49860 h 281304"/>
                    <a:gd name="T100" fmla="*/ 586295 w 675004"/>
                    <a:gd name="T101" fmla="*/ 49860 h 281304"/>
                    <a:gd name="T102" fmla="*/ 604558 w 675004"/>
                    <a:gd name="T103" fmla="*/ 86423 h 281304"/>
                    <a:gd name="T104" fmla="*/ 647255 w 675004"/>
                    <a:gd name="T105" fmla="*/ 110591 h 281304"/>
                    <a:gd name="T106" fmla="*/ 674928 w 675004"/>
                    <a:gd name="T107" fmla="*/ 110591 h 281304"/>
                    <a:gd name="T108" fmla="*/ 674928 w 675004"/>
                    <a:gd name="T109" fmla="*/ 68872 h 281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75004" h="281304">
                      <a:moveTo>
                        <a:pt x="313512" y="238721"/>
                      </a:moveTo>
                      <a:lnTo>
                        <a:pt x="304380" y="238721"/>
                      </a:lnTo>
                      <a:lnTo>
                        <a:pt x="295198" y="237807"/>
                      </a:lnTo>
                      <a:lnTo>
                        <a:pt x="288391" y="234873"/>
                      </a:lnTo>
                      <a:lnTo>
                        <a:pt x="282778" y="229666"/>
                      </a:lnTo>
                      <a:lnTo>
                        <a:pt x="277202" y="221932"/>
                      </a:lnTo>
                      <a:lnTo>
                        <a:pt x="196989" y="86906"/>
                      </a:lnTo>
                      <a:lnTo>
                        <a:pt x="312521" y="86906"/>
                      </a:lnTo>
                      <a:lnTo>
                        <a:pt x="312521" y="40487"/>
                      </a:lnTo>
                      <a:lnTo>
                        <a:pt x="186118" y="40487"/>
                      </a:lnTo>
                      <a:lnTo>
                        <a:pt x="186118" y="0"/>
                      </a:lnTo>
                      <a:lnTo>
                        <a:pt x="126873" y="0"/>
                      </a:lnTo>
                      <a:lnTo>
                        <a:pt x="126873" y="40487"/>
                      </a:lnTo>
                      <a:lnTo>
                        <a:pt x="965" y="40487"/>
                      </a:lnTo>
                      <a:lnTo>
                        <a:pt x="965" y="86906"/>
                      </a:lnTo>
                      <a:lnTo>
                        <a:pt x="116522" y="86906"/>
                      </a:lnTo>
                      <a:lnTo>
                        <a:pt x="36258" y="221932"/>
                      </a:lnTo>
                      <a:lnTo>
                        <a:pt x="30480" y="229666"/>
                      </a:lnTo>
                      <a:lnTo>
                        <a:pt x="24396" y="234873"/>
                      </a:lnTo>
                      <a:lnTo>
                        <a:pt x="17157" y="237807"/>
                      </a:lnTo>
                      <a:lnTo>
                        <a:pt x="7899" y="238721"/>
                      </a:lnTo>
                      <a:lnTo>
                        <a:pt x="0" y="238721"/>
                      </a:lnTo>
                      <a:lnTo>
                        <a:pt x="0" y="280936"/>
                      </a:lnTo>
                      <a:lnTo>
                        <a:pt x="22707" y="280936"/>
                      </a:lnTo>
                      <a:lnTo>
                        <a:pt x="42532" y="280479"/>
                      </a:lnTo>
                      <a:lnTo>
                        <a:pt x="57848" y="277317"/>
                      </a:lnTo>
                      <a:lnTo>
                        <a:pt x="70713" y="268744"/>
                      </a:lnTo>
                      <a:lnTo>
                        <a:pt x="83172" y="252056"/>
                      </a:lnTo>
                      <a:lnTo>
                        <a:pt x="156756" y="129120"/>
                      </a:lnTo>
                      <a:lnTo>
                        <a:pt x="230314" y="252056"/>
                      </a:lnTo>
                      <a:lnTo>
                        <a:pt x="242646" y="268744"/>
                      </a:lnTo>
                      <a:lnTo>
                        <a:pt x="255460" y="277317"/>
                      </a:lnTo>
                      <a:lnTo>
                        <a:pt x="270827" y="280479"/>
                      </a:lnTo>
                      <a:lnTo>
                        <a:pt x="290791" y="280936"/>
                      </a:lnTo>
                      <a:lnTo>
                        <a:pt x="313512" y="280936"/>
                      </a:lnTo>
                      <a:lnTo>
                        <a:pt x="313512" y="238721"/>
                      </a:lnTo>
                      <a:close/>
                    </a:path>
                    <a:path w="675004" h="281304">
                      <a:moveTo>
                        <a:pt x="674928" y="68872"/>
                      </a:moveTo>
                      <a:lnTo>
                        <a:pt x="653173" y="68872"/>
                      </a:lnTo>
                      <a:lnTo>
                        <a:pt x="622833" y="3213"/>
                      </a:lnTo>
                      <a:lnTo>
                        <a:pt x="419658" y="3213"/>
                      </a:lnTo>
                      <a:lnTo>
                        <a:pt x="395960" y="54330"/>
                      </a:lnTo>
                      <a:lnTo>
                        <a:pt x="389064" y="68872"/>
                      </a:lnTo>
                      <a:lnTo>
                        <a:pt x="367347" y="68872"/>
                      </a:lnTo>
                      <a:lnTo>
                        <a:pt x="367347" y="110591"/>
                      </a:lnTo>
                      <a:lnTo>
                        <a:pt x="396963" y="110591"/>
                      </a:lnTo>
                      <a:lnTo>
                        <a:pt x="411289" y="109651"/>
                      </a:lnTo>
                      <a:lnTo>
                        <a:pt x="422592" y="106095"/>
                      </a:lnTo>
                      <a:lnTo>
                        <a:pt x="431622" y="98729"/>
                      </a:lnTo>
                      <a:lnTo>
                        <a:pt x="439153" y="86423"/>
                      </a:lnTo>
                      <a:lnTo>
                        <a:pt x="455942" y="49860"/>
                      </a:lnTo>
                      <a:lnTo>
                        <a:pt x="586295" y="49860"/>
                      </a:lnTo>
                      <a:lnTo>
                        <a:pt x="604558" y="86423"/>
                      </a:lnTo>
                      <a:lnTo>
                        <a:pt x="647255" y="110591"/>
                      </a:lnTo>
                      <a:lnTo>
                        <a:pt x="674928" y="110591"/>
                      </a:lnTo>
                      <a:lnTo>
                        <a:pt x="674928" y="68872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sp>
            <p:nvSpPr>
              <p:cNvPr id="101" name="object 72"/>
              <p:cNvSpPr>
                <a:spLocks noChangeArrowheads="1"/>
              </p:cNvSpPr>
              <p:nvPr userDrawn="1"/>
            </p:nvSpPr>
            <p:spPr bwMode="auto">
              <a:xfrm>
                <a:off x="4174490" y="2959418"/>
                <a:ext cx="582613" cy="581025"/>
              </a:xfrm>
              <a:custGeom>
                <a:avLst/>
                <a:gdLst>
                  <a:gd name="T0" fmla="*/ 198927 w 582295"/>
                  <a:gd name="T1" fmla="*/ 14813 h 582295"/>
                  <a:gd name="T2" fmla="*/ 85145 w 582295"/>
                  <a:gd name="T3" fmla="*/ 85146 h 582295"/>
                  <a:gd name="T4" fmla="*/ 14813 w 582295"/>
                  <a:gd name="T5" fmla="*/ 198932 h 582295"/>
                  <a:gd name="T6" fmla="*/ 3802 w 582295"/>
                  <a:gd name="T7" fmla="*/ 338251 h 582295"/>
                  <a:gd name="T8" fmla="*/ 56080 w 582295"/>
                  <a:gd name="T9" fmla="*/ 462948 h 582295"/>
                  <a:gd name="T10" fmla="*/ 157164 w 582295"/>
                  <a:gd name="T11" fmla="*/ 549546 h 582295"/>
                  <a:gd name="T12" fmla="*/ 290985 w 582295"/>
                  <a:gd name="T13" fmla="*/ 581982 h 582295"/>
                  <a:gd name="T14" fmla="*/ 411521 w 582295"/>
                  <a:gd name="T15" fmla="*/ 555155 h 582295"/>
                  <a:gd name="T16" fmla="*/ 199405 w 582295"/>
                  <a:gd name="T17" fmla="*/ 538489 h 582295"/>
                  <a:gd name="T18" fmla="*/ 89829 w 582295"/>
                  <a:gd name="T19" fmla="*/ 460690 h 582295"/>
                  <a:gd name="T20" fmla="*/ 31911 w 582295"/>
                  <a:gd name="T21" fmla="*/ 338159 h 582295"/>
                  <a:gd name="T22" fmla="*/ 31857 w 582295"/>
                  <a:gd name="T23" fmla="*/ 243496 h 582295"/>
                  <a:gd name="T24" fmla="*/ 94308 w 582295"/>
                  <a:gd name="T25" fmla="*/ 198737 h 582295"/>
                  <a:gd name="T26" fmla="*/ 111360 w 582295"/>
                  <a:gd name="T27" fmla="*/ 98609 h 582295"/>
                  <a:gd name="T28" fmla="*/ 212796 w 582295"/>
                  <a:gd name="T29" fmla="*/ 59746 h 582295"/>
                  <a:gd name="T30" fmla="*/ 246691 w 582295"/>
                  <a:gd name="T31" fmla="*/ 30688 h 582295"/>
                  <a:gd name="T32" fmla="*/ 411516 w 582295"/>
                  <a:gd name="T33" fmla="*/ 26826 h 582295"/>
                  <a:gd name="T34" fmla="*/ 290985 w 582295"/>
                  <a:gd name="T35" fmla="*/ 0 h 582295"/>
                  <a:gd name="T36" fmla="*/ 544916 w 582295"/>
                  <a:gd name="T37" fmla="*/ 220755 h 582295"/>
                  <a:gd name="T38" fmla="*/ 554339 w 582295"/>
                  <a:gd name="T39" fmla="*/ 290996 h 582295"/>
                  <a:gd name="T40" fmla="*/ 518214 w 582295"/>
                  <a:gd name="T41" fmla="*/ 423782 h 582295"/>
                  <a:gd name="T42" fmla="*/ 423567 w 582295"/>
                  <a:gd name="T43" fmla="*/ 518820 h 582295"/>
                  <a:gd name="T44" fmla="*/ 290985 w 582295"/>
                  <a:gd name="T45" fmla="*/ 555155 h 582295"/>
                  <a:gd name="T46" fmla="*/ 496835 w 582295"/>
                  <a:gd name="T47" fmla="*/ 496840 h 582295"/>
                  <a:gd name="T48" fmla="*/ 567168 w 582295"/>
                  <a:gd name="T49" fmla="*/ 383058 h 582295"/>
                  <a:gd name="T50" fmla="*/ 578179 w 582295"/>
                  <a:gd name="T51" fmla="*/ 243740 h 582295"/>
                  <a:gd name="T52" fmla="*/ 94308 w 582295"/>
                  <a:gd name="T53" fmla="*/ 198737 h 582295"/>
                  <a:gd name="T54" fmla="*/ 202800 w 582295"/>
                  <a:gd name="T55" fmla="*/ 516141 h 582295"/>
                  <a:gd name="T56" fmla="*/ 255538 w 582295"/>
                  <a:gd name="T57" fmla="*/ 422269 h 582295"/>
                  <a:gd name="T58" fmla="*/ 94308 w 582295"/>
                  <a:gd name="T59" fmla="*/ 198737 h 582295"/>
                  <a:gd name="T60" fmla="*/ 294242 w 582295"/>
                  <a:gd name="T61" fmla="*/ 349926 h 582295"/>
                  <a:gd name="T62" fmla="*/ 379182 w 582295"/>
                  <a:gd name="T63" fmla="*/ 516141 h 582295"/>
                  <a:gd name="T64" fmla="*/ 373486 w 582295"/>
                  <a:gd name="T65" fmla="*/ 422269 h 582295"/>
                  <a:gd name="T66" fmla="*/ 317403 w 582295"/>
                  <a:gd name="T67" fmla="*/ 298713 h 582295"/>
                  <a:gd name="T68" fmla="*/ 260505 w 582295"/>
                  <a:gd name="T69" fmla="*/ 303592 h 582295"/>
                  <a:gd name="T70" fmla="*/ 255538 w 582295"/>
                  <a:gd name="T71" fmla="*/ 422269 h 582295"/>
                  <a:gd name="T72" fmla="*/ 340279 w 582295"/>
                  <a:gd name="T73" fmla="*/ 346670 h 582295"/>
                  <a:gd name="T74" fmla="*/ 317403 w 582295"/>
                  <a:gd name="T75" fmla="*/ 298713 h 582295"/>
                  <a:gd name="T76" fmla="*/ 445504 w 582295"/>
                  <a:gd name="T77" fmla="*/ 77596 h 582295"/>
                  <a:gd name="T78" fmla="*/ 512487 w 582295"/>
                  <a:gd name="T79" fmla="*/ 148749 h 582295"/>
                  <a:gd name="T80" fmla="*/ 537690 w 582295"/>
                  <a:gd name="T81" fmla="*/ 198737 h 582295"/>
                  <a:gd name="T82" fmla="*/ 525901 w 582295"/>
                  <a:gd name="T83" fmla="*/ 119040 h 582295"/>
                  <a:gd name="T84" fmla="*/ 212796 w 582295"/>
                  <a:gd name="T85" fmla="*/ 59746 h 582295"/>
                  <a:gd name="T86" fmla="*/ 262128 w 582295"/>
                  <a:gd name="T87" fmla="*/ 278399 h 582295"/>
                  <a:gd name="T88" fmla="*/ 319843 w 582295"/>
                  <a:gd name="T89" fmla="*/ 278399 h 582295"/>
                  <a:gd name="T90" fmla="*/ 289362 w 582295"/>
                  <a:gd name="T91" fmla="*/ 231249 h 582295"/>
                  <a:gd name="T92" fmla="*/ 411516 w 582295"/>
                  <a:gd name="T93" fmla="*/ 26826 h 582295"/>
                  <a:gd name="T94" fmla="*/ 335289 w 582295"/>
                  <a:gd name="T95" fmla="*/ 30688 h 582295"/>
                  <a:gd name="T96" fmla="*/ 294242 w 582295"/>
                  <a:gd name="T97" fmla="*/ 228003 h 582295"/>
                  <a:gd name="T98" fmla="*/ 417788 w 582295"/>
                  <a:gd name="T99" fmla="*/ 59746 h 582295"/>
                  <a:gd name="T100" fmla="*/ 424814 w 582295"/>
                  <a:gd name="T101" fmla="*/ 32438 h 582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82295" h="582295">
                    <a:moveTo>
                      <a:pt x="290985" y="0"/>
                    </a:moveTo>
                    <a:lnTo>
                      <a:pt x="243733" y="3802"/>
                    </a:lnTo>
                    <a:lnTo>
                      <a:pt x="198927" y="14813"/>
                    </a:lnTo>
                    <a:lnTo>
                      <a:pt x="157164" y="32438"/>
                    </a:lnTo>
                    <a:lnTo>
                      <a:pt x="119038" y="56080"/>
                    </a:lnTo>
                    <a:lnTo>
                      <a:pt x="85145" y="85146"/>
                    </a:lnTo>
                    <a:lnTo>
                      <a:pt x="56080" y="119040"/>
                    </a:lnTo>
                    <a:lnTo>
                      <a:pt x="32437" y="157167"/>
                    </a:lnTo>
                    <a:lnTo>
                      <a:pt x="14813" y="198932"/>
                    </a:lnTo>
                    <a:lnTo>
                      <a:pt x="3802" y="243740"/>
                    </a:lnTo>
                    <a:lnTo>
                      <a:pt x="0" y="290996"/>
                    </a:lnTo>
                    <a:lnTo>
                      <a:pt x="3802" y="338251"/>
                    </a:lnTo>
                    <a:lnTo>
                      <a:pt x="14813" y="383058"/>
                    </a:lnTo>
                    <a:lnTo>
                      <a:pt x="32437" y="424822"/>
                    </a:lnTo>
                    <a:lnTo>
                      <a:pt x="56080" y="462948"/>
                    </a:lnTo>
                    <a:lnTo>
                      <a:pt x="85145" y="496840"/>
                    </a:lnTo>
                    <a:lnTo>
                      <a:pt x="119038" y="525905"/>
                    </a:lnTo>
                    <a:lnTo>
                      <a:pt x="157164" y="549546"/>
                    </a:lnTo>
                    <a:lnTo>
                      <a:pt x="198927" y="567169"/>
                    </a:lnTo>
                    <a:lnTo>
                      <a:pt x="243733" y="578179"/>
                    </a:lnTo>
                    <a:lnTo>
                      <a:pt x="290985" y="581982"/>
                    </a:lnTo>
                    <a:lnTo>
                      <a:pt x="338241" y="578179"/>
                    </a:lnTo>
                    <a:lnTo>
                      <a:pt x="383049" y="567169"/>
                    </a:lnTo>
                    <a:lnTo>
                      <a:pt x="411521" y="555155"/>
                    </a:lnTo>
                    <a:lnTo>
                      <a:pt x="290985" y="555155"/>
                    </a:lnTo>
                    <a:lnTo>
                      <a:pt x="243850" y="550859"/>
                    </a:lnTo>
                    <a:lnTo>
                      <a:pt x="199405" y="538489"/>
                    </a:lnTo>
                    <a:lnTo>
                      <a:pt x="158411" y="518820"/>
                    </a:lnTo>
                    <a:lnTo>
                      <a:pt x="121631" y="492628"/>
                    </a:lnTo>
                    <a:lnTo>
                      <a:pt x="89829" y="460690"/>
                    </a:lnTo>
                    <a:lnTo>
                      <a:pt x="63766" y="423782"/>
                    </a:lnTo>
                    <a:lnTo>
                      <a:pt x="44206" y="382680"/>
                    </a:lnTo>
                    <a:lnTo>
                      <a:pt x="31911" y="338159"/>
                    </a:lnTo>
                    <a:lnTo>
                      <a:pt x="27643" y="290996"/>
                    </a:lnTo>
                    <a:lnTo>
                      <a:pt x="28702" y="266922"/>
                    </a:lnTo>
                    <a:lnTo>
                      <a:pt x="31857" y="243496"/>
                    </a:lnTo>
                    <a:lnTo>
                      <a:pt x="37069" y="220755"/>
                    </a:lnTo>
                    <a:lnTo>
                      <a:pt x="44302" y="198737"/>
                    </a:lnTo>
                    <a:lnTo>
                      <a:pt x="94308" y="198737"/>
                    </a:lnTo>
                    <a:lnTo>
                      <a:pt x="69505" y="148749"/>
                    </a:lnTo>
                    <a:lnTo>
                      <a:pt x="88986" y="122441"/>
                    </a:lnTo>
                    <a:lnTo>
                      <a:pt x="111360" y="98609"/>
                    </a:lnTo>
                    <a:lnTo>
                      <a:pt x="136479" y="77596"/>
                    </a:lnTo>
                    <a:lnTo>
                      <a:pt x="164193" y="59746"/>
                    </a:lnTo>
                    <a:lnTo>
                      <a:pt x="212796" y="59746"/>
                    </a:lnTo>
                    <a:lnTo>
                      <a:pt x="204831" y="41862"/>
                    </a:lnTo>
                    <a:lnTo>
                      <a:pt x="225381" y="35400"/>
                    </a:lnTo>
                    <a:lnTo>
                      <a:pt x="246691" y="30688"/>
                    </a:lnTo>
                    <a:lnTo>
                      <a:pt x="268609" y="27804"/>
                    </a:lnTo>
                    <a:lnTo>
                      <a:pt x="290985" y="26826"/>
                    </a:lnTo>
                    <a:lnTo>
                      <a:pt x="411516" y="26826"/>
                    </a:lnTo>
                    <a:lnTo>
                      <a:pt x="383049" y="14813"/>
                    </a:lnTo>
                    <a:lnTo>
                      <a:pt x="338241" y="3802"/>
                    </a:lnTo>
                    <a:lnTo>
                      <a:pt x="290985" y="0"/>
                    </a:lnTo>
                    <a:close/>
                  </a:path>
                  <a:path w="582295" h="582295">
                    <a:moveTo>
                      <a:pt x="567086" y="198737"/>
                    </a:moveTo>
                    <a:lnTo>
                      <a:pt x="537690" y="198737"/>
                    </a:lnTo>
                    <a:lnTo>
                      <a:pt x="544916" y="220755"/>
                    </a:lnTo>
                    <a:lnTo>
                      <a:pt x="550125" y="243496"/>
                    </a:lnTo>
                    <a:lnTo>
                      <a:pt x="553279" y="266922"/>
                    </a:lnTo>
                    <a:lnTo>
                      <a:pt x="554339" y="290996"/>
                    </a:lnTo>
                    <a:lnTo>
                      <a:pt x="550071" y="338159"/>
                    </a:lnTo>
                    <a:lnTo>
                      <a:pt x="537775" y="382680"/>
                    </a:lnTo>
                    <a:lnTo>
                      <a:pt x="518214" y="423782"/>
                    </a:lnTo>
                    <a:lnTo>
                      <a:pt x="492151" y="460690"/>
                    </a:lnTo>
                    <a:lnTo>
                      <a:pt x="460348" y="492628"/>
                    </a:lnTo>
                    <a:lnTo>
                      <a:pt x="423567" y="518820"/>
                    </a:lnTo>
                    <a:lnTo>
                      <a:pt x="382572" y="538489"/>
                    </a:lnTo>
                    <a:lnTo>
                      <a:pt x="338124" y="550859"/>
                    </a:lnTo>
                    <a:lnTo>
                      <a:pt x="290985" y="555155"/>
                    </a:lnTo>
                    <a:lnTo>
                      <a:pt x="411521" y="555155"/>
                    </a:lnTo>
                    <a:lnTo>
                      <a:pt x="462941" y="525905"/>
                    </a:lnTo>
                    <a:lnTo>
                      <a:pt x="496835" y="496840"/>
                    </a:lnTo>
                    <a:lnTo>
                      <a:pt x="525901" y="462948"/>
                    </a:lnTo>
                    <a:lnTo>
                      <a:pt x="549544" y="424822"/>
                    </a:lnTo>
                    <a:lnTo>
                      <a:pt x="567168" y="383058"/>
                    </a:lnTo>
                    <a:lnTo>
                      <a:pt x="578179" y="338251"/>
                    </a:lnTo>
                    <a:lnTo>
                      <a:pt x="581982" y="290996"/>
                    </a:lnTo>
                    <a:lnTo>
                      <a:pt x="578179" y="243740"/>
                    </a:lnTo>
                    <a:lnTo>
                      <a:pt x="567168" y="198932"/>
                    </a:lnTo>
                    <a:lnTo>
                      <a:pt x="567086" y="198737"/>
                    </a:lnTo>
                    <a:close/>
                  </a:path>
                  <a:path w="582295" h="582295">
                    <a:moveTo>
                      <a:pt x="94308" y="198737"/>
                    </a:moveTo>
                    <a:lnTo>
                      <a:pt x="44302" y="198737"/>
                    </a:lnTo>
                    <a:lnTo>
                      <a:pt x="200360" y="512916"/>
                    </a:lnTo>
                    <a:lnTo>
                      <a:pt x="202800" y="516141"/>
                    </a:lnTo>
                    <a:lnTo>
                      <a:pt x="212558" y="516141"/>
                    </a:lnTo>
                    <a:lnTo>
                      <a:pt x="215239" y="512832"/>
                    </a:lnTo>
                    <a:lnTo>
                      <a:pt x="255538" y="422269"/>
                    </a:lnTo>
                    <a:lnTo>
                      <a:pt x="205239" y="422269"/>
                    </a:lnTo>
                    <a:lnTo>
                      <a:pt x="203606" y="419013"/>
                    </a:lnTo>
                    <a:lnTo>
                      <a:pt x="94308" y="198737"/>
                    </a:lnTo>
                    <a:close/>
                  </a:path>
                  <a:path w="582295" h="582295">
                    <a:moveTo>
                      <a:pt x="340279" y="346670"/>
                    </a:moveTo>
                    <a:lnTo>
                      <a:pt x="292608" y="346670"/>
                    </a:lnTo>
                    <a:lnTo>
                      <a:pt x="294242" y="349926"/>
                    </a:lnTo>
                    <a:lnTo>
                      <a:pt x="366742" y="512832"/>
                    </a:lnTo>
                    <a:lnTo>
                      <a:pt x="369423" y="516141"/>
                    </a:lnTo>
                    <a:lnTo>
                      <a:pt x="379182" y="516141"/>
                    </a:lnTo>
                    <a:lnTo>
                      <a:pt x="381613" y="512916"/>
                    </a:lnTo>
                    <a:lnTo>
                      <a:pt x="426646" y="422269"/>
                    </a:lnTo>
                    <a:lnTo>
                      <a:pt x="373486" y="422269"/>
                    </a:lnTo>
                    <a:lnTo>
                      <a:pt x="371873" y="419013"/>
                    </a:lnTo>
                    <a:lnTo>
                      <a:pt x="340279" y="346670"/>
                    </a:lnTo>
                    <a:close/>
                  </a:path>
                  <a:path w="582295" h="582295">
                    <a:moveTo>
                      <a:pt x="317403" y="298713"/>
                    </a:moveTo>
                    <a:lnTo>
                      <a:pt x="264578" y="298713"/>
                    </a:lnTo>
                    <a:lnTo>
                      <a:pt x="262128" y="299530"/>
                    </a:lnTo>
                    <a:lnTo>
                      <a:pt x="260505" y="303592"/>
                    </a:lnTo>
                    <a:lnTo>
                      <a:pt x="210108" y="419013"/>
                    </a:lnTo>
                    <a:lnTo>
                      <a:pt x="208485" y="422269"/>
                    </a:lnTo>
                    <a:lnTo>
                      <a:pt x="255538" y="422269"/>
                    </a:lnTo>
                    <a:lnTo>
                      <a:pt x="287729" y="349926"/>
                    </a:lnTo>
                    <a:lnTo>
                      <a:pt x="289362" y="346670"/>
                    </a:lnTo>
                    <a:lnTo>
                      <a:pt x="340279" y="346670"/>
                    </a:lnTo>
                    <a:lnTo>
                      <a:pt x="321466" y="303592"/>
                    </a:lnTo>
                    <a:lnTo>
                      <a:pt x="319843" y="299530"/>
                    </a:lnTo>
                    <a:lnTo>
                      <a:pt x="317403" y="298713"/>
                    </a:lnTo>
                    <a:close/>
                  </a:path>
                  <a:path w="582295" h="582295">
                    <a:moveTo>
                      <a:pt x="467216" y="59746"/>
                    </a:moveTo>
                    <a:lnTo>
                      <a:pt x="417788" y="59746"/>
                    </a:lnTo>
                    <a:lnTo>
                      <a:pt x="445504" y="77596"/>
                    </a:lnTo>
                    <a:lnTo>
                      <a:pt x="470627" y="98609"/>
                    </a:lnTo>
                    <a:lnTo>
                      <a:pt x="493004" y="122441"/>
                    </a:lnTo>
                    <a:lnTo>
                      <a:pt x="512487" y="148749"/>
                    </a:lnTo>
                    <a:lnTo>
                      <a:pt x="376742" y="422269"/>
                    </a:lnTo>
                    <a:lnTo>
                      <a:pt x="426646" y="422269"/>
                    </a:lnTo>
                    <a:lnTo>
                      <a:pt x="537690" y="198737"/>
                    </a:lnTo>
                    <a:lnTo>
                      <a:pt x="567086" y="198737"/>
                    </a:lnTo>
                    <a:lnTo>
                      <a:pt x="549544" y="157167"/>
                    </a:lnTo>
                    <a:lnTo>
                      <a:pt x="525901" y="119040"/>
                    </a:lnTo>
                    <a:lnTo>
                      <a:pt x="496835" y="85146"/>
                    </a:lnTo>
                    <a:lnTo>
                      <a:pt x="467216" y="59746"/>
                    </a:lnTo>
                    <a:close/>
                  </a:path>
                  <a:path w="582295" h="582295">
                    <a:moveTo>
                      <a:pt x="212796" y="59746"/>
                    </a:moveTo>
                    <a:lnTo>
                      <a:pt x="164193" y="59746"/>
                    </a:lnTo>
                    <a:lnTo>
                      <a:pt x="260505" y="274337"/>
                    </a:lnTo>
                    <a:lnTo>
                      <a:pt x="262128" y="278399"/>
                    </a:lnTo>
                    <a:lnTo>
                      <a:pt x="264578" y="279206"/>
                    </a:lnTo>
                    <a:lnTo>
                      <a:pt x="317403" y="279206"/>
                    </a:lnTo>
                    <a:lnTo>
                      <a:pt x="319843" y="278399"/>
                    </a:lnTo>
                    <a:lnTo>
                      <a:pt x="321466" y="274337"/>
                    </a:lnTo>
                    <a:lnTo>
                      <a:pt x="340807" y="231249"/>
                    </a:lnTo>
                    <a:lnTo>
                      <a:pt x="289362" y="231249"/>
                    </a:lnTo>
                    <a:lnTo>
                      <a:pt x="287729" y="228003"/>
                    </a:lnTo>
                    <a:lnTo>
                      <a:pt x="212796" y="59746"/>
                    </a:lnTo>
                    <a:close/>
                  </a:path>
                  <a:path w="582295" h="582295">
                    <a:moveTo>
                      <a:pt x="411516" y="26826"/>
                    </a:moveTo>
                    <a:lnTo>
                      <a:pt x="290985" y="26826"/>
                    </a:lnTo>
                    <a:lnTo>
                      <a:pt x="313367" y="27804"/>
                    </a:lnTo>
                    <a:lnTo>
                      <a:pt x="335289" y="30688"/>
                    </a:lnTo>
                    <a:lnTo>
                      <a:pt x="356600" y="35400"/>
                    </a:lnTo>
                    <a:lnTo>
                      <a:pt x="377150" y="41862"/>
                    </a:lnTo>
                    <a:lnTo>
                      <a:pt x="294242" y="228003"/>
                    </a:lnTo>
                    <a:lnTo>
                      <a:pt x="292608" y="231249"/>
                    </a:lnTo>
                    <a:lnTo>
                      <a:pt x="340807" y="231249"/>
                    </a:lnTo>
                    <a:lnTo>
                      <a:pt x="417788" y="59746"/>
                    </a:lnTo>
                    <a:lnTo>
                      <a:pt x="467216" y="59746"/>
                    </a:lnTo>
                    <a:lnTo>
                      <a:pt x="462941" y="56080"/>
                    </a:lnTo>
                    <a:lnTo>
                      <a:pt x="424814" y="32438"/>
                    </a:lnTo>
                    <a:lnTo>
                      <a:pt x="411516" y="26826"/>
                    </a:lnTo>
                    <a:close/>
                  </a:path>
                </a:pathLst>
              </a:custGeom>
              <a:solidFill>
                <a:srgbClr val="1F2F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102" name="object 73"/>
              <p:cNvGrpSpPr/>
              <p:nvPr userDrawn="1"/>
            </p:nvGrpSpPr>
            <p:grpSpPr bwMode="auto">
              <a:xfrm>
                <a:off x="3252153" y="2976880"/>
                <a:ext cx="814387" cy="542925"/>
                <a:chOff x="9663221" y="6807394"/>
                <a:chExt cx="814705" cy="542925"/>
              </a:xfrm>
            </p:grpSpPr>
            <p:sp>
              <p:nvSpPr>
                <p:cNvPr id="103" name="object 74"/>
                <p:cNvSpPr>
                  <a:spLocks noChangeArrowheads="1"/>
                </p:cNvSpPr>
                <p:nvPr/>
              </p:nvSpPr>
              <p:spPr bwMode="auto">
                <a:xfrm>
                  <a:off x="9663221" y="6807394"/>
                  <a:ext cx="814705" cy="542925"/>
                </a:xfrm>
                <a:custGeom>
                  <a:avLst/>
                  <a:gdLst>
                    <a:gd name="T0" fmla="*/ 351965 w 814704"/>
                    <a:gd name="T1" fmla="*/ 2478 h 542925"/>
                    <a:gd name="T2" fmla="*/ 248713 w 814704"/>
                    <a:gd name="T3" fmla="*/ 21332 h 542925"/>
                    <a:gd name="T4" fmla="*/ 158380 w 814704"/>
                    <a:gd name="T5" fmla="*/ 56560 h 542925"/>
                    <a:gd name="T6" fmla="*/ 84849 w 814704"/>
                    <a:gd name="T7" fmla="*/ 105575 h 542925"/>
                    <a:gd name="T8" fmla="*/ 32001 w 814704"/>
                    <a:gd name="T9" fmla="*/ 165789 h 542925"/>
                    <a:gd name="T10" fmla="*/ 0 w 814704"/>
                    <a:gd name="T11" fmla="*/ 271447 h 542925"/>
                    <a:gd name="T12" fmla="*/ 32001 w 814704"/>
                    <a:gd name="T13" fmla="*/ 377110 h 542925"/>
                    <a:gd name="T14" fmla="*/ 84849 w 814704"/>
                    <a:gd name="T15" fmla="*/ 437327 h 542925"/>
                    <a:gd name="T16" fmla="*/ 158380 w 814704"/>
                    <a:gd name="T17" fmla="*/ 486343 h 542925"/>
                    <a:gd name="T18" fmla="*/ 248713 w 814704"/>
                    <a:gd name="T19" fmla="*/ 521572 h 542925"/>
                    <a:gd name="T20" fmla="*/ 351965 w 814704"/>
                    <a:gd name="T21" fmla="*/ 540426 h 542925"/>
                    <a:gd name="T22" fmla="*/ 462481 w 814704"/>
                    <a:gd name="T23" fmla="*/ 540426 h 542925"/>
                    <a:gd name="T24" fmla="*/ 565733 w 814704"/>
                    <a:gd name="T25" fmla="*/ 521572 h 542925"/>
                    <a:gd name="T26" fmla="*/ 407223 w 814704"/>
                    <a:gd name="T27" fmla="*/ 514392 h 542925"/>
                    <a:gd name="T28" fmla="*/ 307050 w 814704"/>
                    <a:gd name="T29" fmla="*/ 505743 h 542925"/>
                    <a:gd name="T30" fmla="*/ 215191 w 814704"/>
                    <a:gd name="T31" fmla="*/ 480519 h 542925"/>
                    <a:gd name="T32" fmla="*/ 135597 w 814704"/>
                    <a:gd name="T33" fmla="*/ 439808 h 542925"/>
                    <a:gd name="T34" fmla="*/ 56561 w 814704"/>
                    <a:gd name="T35" fmla="*/ 361992 h 542925"/>
                    <a:gd name="T36" fmla="*/ 29056 w 814704"/>
                    <a:gd name="T37" fmla="*/ 271447 h 542925"/>
                    <a:gd name="T38" fmla="*/ 56561 w 814704"/>
                    <a:gd name="T39" fmla="*/ 180910 h 542925"/>
                    <a:gd name="T40" fmla="*/ 135597 w 814704"/>
                    <a:gd name="T41" fmla="*/ 103096 h 542925"/>
                    <a:gd name="T42" fmla="*/ 215191 w 814704"/>
                    <a:gd name="T43" fmla="*/ 62385 h 542925"/>
                    <a:gd name="T44" fmla="*/ 307050 w 814704"/>
                    <a:gd name="T45" fmla="*/ 37161 h 542925"/>
                    <a:gd name="T46" fmla="*/ 407223 w 814704"/>
                    <a:gd name="T47" fmla="*/ 28512 h 542925"/>
                    <a:gd name="T48" fmla="*/ 565733 w 814704"/>
                    <a:gd name="T49" fmla="*/ 21332 h 542925"/>
                    <a:gd name="T50" fmla="*/ 462481 w 814704"/>
                    <a:gd name="T51" fmla="*/ 2478 h 542925"/>
                    <a:gd name="T52" fmla="*/ 587198 w 814704"/>
                    <a:gd name="T53" fmla="*/ 28512 h 542925"/>
                    <a:gd name="T54" fmla="*/ 458101 w 814704"/>
                    <a:gd name="T55" fmla="*/ 30697 h 542925"/>
                    <a:gd name="T56" fmla="*/ 554611 w 814704"/>
                    <a:gd name="T57" fmla="*/ 47769 h 542925"/>
                    <a:gd name="T58" fmla="*/ 640831 w 814704"/>
                    <a:gd name="T59" fmla="*/ 80872 h 542925"/>
                    <a:gd name="T60" fmla="*/ 724482 w 814704"/>
                    <a:gd name="T61" fmla="*/ 139896 h 542925"/>
                    <a:gd name="T62" fmla="*/ 778404 w 814704"/>
                    <a:gd name="T63" fmla="*/ 225105 h 542925"/>
                    <a:gd name="T64" fmla="*/ 778404 w 814704"/>
                    <a:gd name="T65" fmla="*/ 317795 h 542925"/>
                    <a:gd name="T66" fmla="*/ 724482 w 814704"/>
                    <a:gd name="T67" fmla="*/ 403007 h 542925"/>
                    <a:gd name="T68" fmla="*/ 640831 w 814704"/>
                    <a:gd name="T69" fmla="*/ 462032 h 542925"/>
                    <a:gd name="T70" fmla="*/ 554611 w 814704"/>
                    <a:gd name="T71" fmla="*/ 495135 h 542925"/>
                    <a:gd name="T72" fmla="*/ 458101 w 814704"/>
                    <a:gd name="T73" fmla="*/ 512207 h 542925"/>
                    <a:gd name="T74" fmla="*/ 587197 w 814704"/>
                    <a:gd name="T75" fmla="*/ 514392 h 542925"/>
                    <a:gd name="T76" fmla="*/ 695173 w 814704"/>
                    <a:gd name="T77" fmla="*/ 463396 h 542925"/>
                    <a:gd name="T78" fmla="*/ 758848 w 814704"/>
                    <a:gd name="T79" fmla="*/ 408457 h 542925"/>
                    <a:gd name="T80" fmla="*/ 810728 w 814704"/>
                    <a:gd name="T81" fmla="*/ 308282 h 542925"/>
                    <a:gd name="T82" fmla="*/ 810728 w 814704"/>
                    <a:gd name="T83" fmla="*/ 234614 h 542925"/>
                    <a:gd name="T84" fmla="*/ 758848 w 814704"/>
                    <a:gd name="T85" fmla="*/ 134444 h 542925"/>
                    <a:gd name="T86" fmla="*/ 695173 w 814704"/>
                    <a:gd name="T87" fmla="*/ 79506 h 542925"/>
                    <a:gd name="T88" fmla="*/ 612756 w 814704"/>
                    <a:gd name="T89" fmla="*/ 37061 h 542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14704" h="542925">
                      <a:moveTo>
                        <a:pt x="407223" y="0"/>
                      </a:moveTo>
                      <a:lnTo>
                        <a:pt x="351965" y="2478"/>
                      </a:lnTo>
                      <a:lnTo>
                        <a:pt x="298966" y="9696"/>
                      </a:lnTo>
                      <a:lnTo>
                        <a:pt x="248713" y="21332"/>
                      </a:lnTo>
                      <a:lnTo>
                        <a:pt x="201689" y="37061"/>
                      </a:lnTo>
                      <a:lnTo>
                        <a:pt x="158380" y="56560"/>
                      </a:lnTo>
                      <a:lnTo>
                        <a:pt x="119272" y="79506"/>
                      </a:lnTo>
                      <a:lnTo>
                        <a:pt x="84849" y="105575"/>
                      </a:lnTo>
                      <a:lnTo>
                        <a:pt x="55597" y="134444"/>
                      </a:lnTo>
                      <a:lnTo>
                        <a:pt x="32001" y="165789"/>
                      </a:lnTo>
                      <a:lnTo>
                        <a:pt x="3717" y="234614"/>
                      </a:lnTo>
                      <a:lnTo>
                        <a:pt x="0" y="271447"/>
                      </a:lnTo>
                      <a:lnTo>
                        <a:pt x="3717" y="308282"/>
                      </a:lnTo>
                      <a:lnTo>
                        <a:pt x="32001" y="377110"/>
                      </a:lnTo>
                      <a:lnTo>
                        <a:pt x="55597" y="408457"/>
                      </a:lnTo>
                      <a:lnTo>
                        <a:pt x="84849" y="437327"/>
                      </a:lnTo>
                      <a:lnTo>
                        <a:pt x="119272" y="463396"/>
                      </a:lnTo>
                      <a:lnTo>
                        <a:pt x="158380" y="486343"/>
                      </a:lnTo>
                      <a:lnTo>
                        <a:pt x="201689" y="505843"/>
                      </a:lnTo>
                      <a:lnTo>
                        <a:pt x="248713" y="521572"/>
                      </a:lnTo>
                      <a:lnTo>
                        <a:pt x="298966" y="533208"/>
                      </a:lnTo>
                      <a:lnTo>
                        <a:pt x="351965" y="540426"/>
                      </a:lnTo>
                      <a:lnTo>
                        <a:pt x="407223" y="542904"/>
                      </a:lnTo>
                      <a:lnTo>
                        <a:pt x="462481" y="540426"/>
                      </a:lnTo>
                      <a:lnTo>
                        <a:pt x="515479" y="533208"/>
                      </a:lnTo>
                      <a:lnTo>
                        <a:pt x="565733" y="521572"/>
                      </a:lnTo>
                      <a:lnTo>
                        <a:pt x="587197" y="514392"/>
                      </a:lnTo>
                      <a:lnTo>
                        <a:pt x="407223" y="514392"/>
                      </a:lnTo>
                      <a:lnTo>
                        <a:pt x="356344" y="512207"/>
                      </a:lnTo>
                      <a:lnTo>
                        <a:pt x="307050" y="505743"/>
                      </a:lnTo>
                      <a:lnTo>
                        <a:pt x="259835" y="495135"/>
                      </a:lnTo>
                      <a:lnTo>
                        <a:pt x="215191" y="480519"/>
                      </a:lnTo>
                      <a:lnTo>
                        <a:pt x="173614" y="462032"/>
                      </a:lnTo>
                      <a:lnTo>
                        <a:pt x="135597" y="439808"/>
                      </a:lnTo>
                      <a:lnTo>
                        <a:pt x="89963" y="403007"/>
                      </a:lnTo>
                      <a:lnTo>
                        <a:pt x="56561" y="361992"/>
                      </a:lnTo>
                      <a:lnTo>
                        <a:pt x="36041" y="317795"/>
                      </a:lnTo>
                      <a:lnTo>
                        <a:pt x="29056" y="271447"/>
                      </a:lnTo>
                      <a:lnTo>
                        <a:pt x="36041" y="225105"/>
                      </a:lnTo>
                      <a:lnTo>
                        <a:pt x="56561" y="180910"/>
                      </a:lnTo>
                      <a:lnTo>
                        <a:pt x="89963" y="139896"/>
                      </a:lnTo>
                      <a:lnTo>
                        <a:pt x="135597" y="103096"/>
                      </a:lnTo>
                      <a:lnTo>
                        <a:pt x="173614" y="80872"/>
                      </a:lnTo>
                      <a:lnTo>
                        <a:pt x="215191" y="62385"/>
                      </a:lnTo>
                      <a:lnTo>
                        <a:pt x="259835" y="47769"/>
                      </a:lnTo>
                      <a:lnTo>
                        <a:pt x="307050" y="37161"/>
                      </a:lnTo>
                      <a:lnTo>
                        <a:pt x="356344" y="30697"/>
                      </a:lnTo>
                      <a:lnTo>
                        <a:pt x="407223" y="28512"/>
                      </a:lnTo>
                      <a:lnTo>
                        <a:pt x="587198" y="28512"/>
                      </a:lnTo>
                      <a:lnTo>
                        <a:pt x="565733" y="21332"/>
                      </a:lnTo>
                      <a:lnTo>
                        <a:pt x="515479" y="9696"/>
                      </a:lnTo>
                      <a:lnTo>
                        <a:pt x="462481" y="2478"/>
                      </a:lnTo>
                      <a:lnTo>
                        <a:pt x="407223" y="0"/>
                      </a:lnTo>
                      <a:close/>
                    </a:path>
                    <a:path w="814704" h="542925">
                      <a:moveTo>
                        <a:pt x="587198" y="28512"/>
                      </a:moveTo>
                      <a:lnTo>
                        <a:pt x="407223" y="28512"/>
                      </a:lnTo>
                      <a:lnTo>
                        <a:pt x="458101" y="30697"/>
                      </a:lnTo>
                      <a:lnTo>
                        <a:pt x="507395" y="37161"/>
                      </a:lnTo>
                      <a:lnTo>
                        <a:pt x="554611" y="47769"/>
                      </a:lnTo>
                      <a:lnTo>
                        <a:pt x="599254" y="62385"/>
                      </a:lnTo>
                      <a:lnTo>
                        <a:pt x="640831" y="80872"/>
                      </a:lnTo>
                      <a:lnTo>
                        <a:pt x="678848" y="103096"/>
                      </a:lnTo>
                      <a:lnTo>
                        <a:pt x="724482" y="139896"/>
                      </a:lnTo>
                      <a:lnTo>
                        <a:pt x="757885" y="180910"/>
                      </a:lnTo>
                      <a:lnTo>
                        <a:pt x="778404" y="225105"/>
                      </a:lnTo>
                      <a:lnTo>
                        <a:pt x="785389" y="271447"/>
                      </a:lnTo>
                      <a:lnTo>
                        <a:pt x="778404" y="317795"/>
                      </a:lnTo>
                      <a:lnTo>
                        <a:pt x="757885" y="361992"/>
                      </a:lnTo>
                      <a:lnTo>
                        <a:pt x="724482" y="403007"/>
                      </a:lnTo>
                      <a:lnTo>
                        <a:pt x="678848" y="439808"/>
                      </a:lnTo>
                      <a:lnTo>
                        <a:pt x="640831" y="462032"/>
                      </a:lnTo>
                      <a:lnTo>
                        <a:pt x="599254" y="480519"/>
                      </a:lnTo>
                      <a:lnTo>
                        <a:pt x="554611" y="495135"/>
                      </a:lnTo>
                      <a:lnTo>
                        <a:pt x="507395" y="505743"/>
                      </a:lnTo>
                      <a:lnTo>
                        <a:pt x="458101" y="512207"/>
                      </a:lnTo>
                      <a:lnTo>
                        <a:pt x="407223" y="514392"/>
                      </a:lnTo>
                      <a:lnTo>
                        <a:pt x="587197" y="514392"/>
                      </a:lnTo>
                      <a:lnTo>
                        <a:pt x="656065" y="486343"/>
                      </a:lnTo>
                      <a:lnTo>
                        <a:pt x="695173" y="463396"/>
                      </a:lnTo>
                      <a:lnTo>
                        <a:pt x="729596" y="437327"/>
                      </a:lnTo>
                      <a:lnTo>
                        <a:pt x="758848" y="408457"/>
                      </a:lnTo>
                      <a:lnTo>
                        <a:pt x="782444" y="377110"/>
                      </a:lnTo>
                      <a:lnTo>
                        <a:pt x="810728" y="308282"/>
                      </a:lnTo>
                      <a:lnTo>
                        <a:pt x="814446" y="271447"/>
                      </a:lnTo>
                      <a:lnTo>
                        <a:pt x="810728" y="234614"/>
                      </a:lnTo>
                      <a:lnTo>
                        <a:pt x="782444" y="165789"/>
                      </a:lnTo>
                      <a:lnTo>
                        <a:pt x="758848" y="134444"/>
                      </a:lnTo>
                      <a:lnTo>
                        <a:pt x="729596" y="105575"/>
                      </a:lnTo>
                      <a:lnTo>
                        <a:pt x="695173" y="79506"/>
                      </a:lnTo>
                      <a:lnTo>
                        <a:pt x="656065" y="56560"/>
                      </a:lnTo>
                      <a:lnTo>
                        <a:pt x="612756" y="37061"/>
                      </a:lnTo>
                      <a:lnTo>
                        <a:pt x="587198" y="28512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04" name="object 75"/>
                <p:cNvPicPr>
                  <a:picLocks noChangeArrowheads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24181" y="7130950"/>
                  <a:ext cx="178601" cy="710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05" name="object 76"/>
                <p:cNvSpPr>
                  <a:spLocks noChangeArrowheads="1"/>
                </p:cNvSpPr>
                <p:nvPr/>
              </p:nvSpPr>
              <p:spPr bwMode="auto">
                <a:xfrm>
                  <a:off x="9754171" y="6885209"/>
                  <a:ext cx="633095" cy="387350"/>
                </a:xfrm>
                <a:custGeom>
                  <a:avLst/>
                  <a:gdLst>
                    <a:gd name="T0" fmla="*/ 248602 w 633095"/>
                    <a:gd name="T1" fmla="*/ 180149 h 387350"/>
                    <a:gd name="T2" fmla="*/ 32524 w 633095"/>
                    <a:gd name="T3" fmla="*/ 180149 h 387350"/>
                    <a:gd name="T4" fmla="*/ 43903 w 633095"/>
                    <a:gd name="T5" fmla="*/ 207721 h 387350"/>
                    <a:gd name="T6" fmla="*/ 48602 w 633095"/>
                    <a:gd name="T7" fmla="*/ 215074 h 387350"/>
                    <a:gd name="T8" fmla="*/ 55219 w 633095"/>
                    <a:gd name="T9" fmla="*/ 220726 h 387350"/>
                    <a:gd name="T10" fmla="*/ 63207 w 633095"/>
                    <a:gd name="T11" fmla="*/ 224358 h 387350"/>
                    <a:gd name="T12" fmla="*/ 71945 w 633095"/>
                    <a:gd name="T13" fmla="*/ 225640 h 387350"/>
                    <a:gd name="T14" fmla="*/ 248602 w 633095"/>
                    <a:gd name="T15" fmla="*/ 225640 h 387350"/>
                    <a:gd name="T16" fmla="*/ 248602 w 633095"/>
                    <a:gd name="T17" fmla="*/ 180149 h 387350"/>
                    <a:gd name="T18" fmla="*/ 248602 w 633095"/>
                    <a:gd name="T19" fmla="*/ 100914 h 387350"/>
                    <a:gd name="T20" fmla="*/ 0 w 633095"/>
                    <a:gd name="T21" fmla="*/ 100914 h 387350"/>
                    <a:gd name="T22" fmla="*/ 11379 w 633095"/>
                    <a:gd name="T23" fmla="*/ 128473 h 387350"/>
                    <a:gd name="T24" fmla="*/ 16078 w 633095"/>
                    <a:gd name="T25" fmla="*/ 135839 h 387350"/>
                    <a:gd name="T26" fmla="*/ 22694 w 633095"/>
                    <a:gd name="T27" fmla="*/ 141490 h 387350"/>
                    <a:gd name="T28" fmla="*/ 30670 w 633095"/>
                    <a:gd name="T29" fmla="*/ 145135 h 387350"/>
                    <a:gd name="T30" fmla="*/ 39408 w 633095"/>
                    <a:gd name="T31" fmla="*/ 146418 h 387350"/>
                    <a:gd name="T32" fmla="*/ 248602 w 633095"/>
                    <a:gd name="T33" fmla="*/ 146418 h 387350"/>
                    <a:gd name="T34" fmla="*/ 248602 w 633095"/>
                    <a:gd name="T35" fmla="*/ 100914 h 387350"/>
                    <a:gd name="T36" fmla="*/ 383908 w 633095"/>
                    <a:gd name="T37" fmla="*/ 343484 h 387350"/>
                    <a:gd name="T38" fmla="*/ 353504 w 633095"/>
                    <a:gd name="T39" fmla="*/ 343484 h 387350"/>
                    <a:gd name="T40" fmla="*/ 348869 w 633095"/>
                    <a:gd name="T41" fmla="*/ 338924 h 387350"/>
                    <a:gd name="T42" fmla="*/ 348869 w 633095"/>
                    <a:gd name="T43" fmla="*/ 0 h 387350"/>
                    <a:gd name="T44" fmla="*/ 323748 w 633095"/>
                    <a:gd name="T45" fmla="*/ 0 h 387350"/>
                    <a:gd name="T46" fmla="*/ 262750 w 633095"/>
                    <a:gd name="T47" fmla="*/ 25336 h 387350"/>
                    <a:gd name="T48" fmla="*/ 254584 w 633095"/>
                    <a:gd name="T49" fmla="*/ 28219 h 387350"/>
                    <a:gd name="T50" fmla="*/ 254584 w 633095"/>
                    <a:gd name="T51" fmla="*/ 56146 h 387350"/>
                    <a:gd name="T52" fmla="*/ 279349 w 633095"/>
                    <a:gd name="T53" fmla="*/ 56146 h 387350"/>
                    <a:gd name="T54" fmla="*/ 283641 w 633095"/>
                    <a:gd name="T55" fmla="*/ 60350 h 387350"/>
                    <a:gd name="T56" fmla="*/ 283641 w 633095"/>
                    <a:gd name="T57" fmla="*/ 338924 h 387350"/>
                    <a:gd name="T58" fmla="*/ 279006 w 633095"/>
                    <a:gd name="T59" fmla="*/ 343484 h 387350"/>
                    <a:gd name="T60" fmla="*/ 248602 w 633095"/>
                    <a:gd name="T61" fmla="*/ 343484 h 387350"/>
                    <a:gd name="T62" fmla="*/ 248602 w 633095"/>
                    <a:gd name="T63" fmla="*/ 387286 h 387350"/>
                    <a:gd name="T64" fmla="*/ 383908 w 633095"/>
                    <a:gd name="T65" fmla="*/ 387286 h 387350"/>
                    <a:gd name="T66" fmla="*/ 383908 w 633095"/>
                    <a:gd name="T67" fmla="*/ 343484 h 387350"/>
                    <a:gd name="T68" fmla="*/ 599986 w 633095"/>
                    <a:gd name="T69" fmla="*/ 180149 h 387350"/>
                    <a:gd name="T70" fmla="*/ 383908 w 633095"/>
                    <a:gd name="T71" fmla="*/ 180149 h 387350"/>
                    <a:gd name="T72" fmla="*/ 383908 w 633095"/>
                    <a:gd name="T73" fmla="*/ 225640 h 387350"/>
                    <a:gd name="T74" fmla="*/ 560565 w 633095"/>
                    <a:gd name="T75" fmla="*/ 225640 h 387350"/>
                    <a:gd name="T76" fmla="*/ 569315 w 633095"/>
                    <a:gd name="T77" fmla="*/ 224358 h 387350"/>
                    <a:gd name="T78" fmla="*/ 577291 w 633095"/>
                    <a:gd name="T79" fmla="*/ 220726 h 387350"/>
                    <a:gd name="T80" fmla="*/ 583920 w 633095"/>
                    <a:gd name="T81" fmla="*/ 215074 h 387350"/>
                    <a:gd name="T82" fmla="*/ 588619 w 633095"/>
                    <a:gd name="T83" fmla="*/ 207721 h 387350"/>
                    <a:gd name="T84" fmla="*/ 599986 w 633095"/>
                    <a:gd name="T85" fmla="*/ 180149 h 387350"/>
                    <a:gd name="T86" fmla="*/ 632548 w 633095"/>
                    <a:gd name="T87" fmla="*/ 100926 h 387350"/>
                    <a:gd name="T88" fmla="*/ 436905 w 633095"/>
                    <a:gd name="T89" fmla="*/ 100926 h 387350"/>
                    <a:gd name="T90" fmla="*/ 436905 w 633095"/>
                    <a:gd name="T91" fmla="*/ 88277 h 387350"/>
                    <a:gd name="T92" fmla="*/ 383946 w 633095"/>
                    <a:gd name="T93" fmla="*/ 88277 h 387350"/>
                    <a:gd name="T94" fmla="*/ 383921 w 633095"/>
                    <a:gd name="T95" fmla="*/ 146418 h 387350"/>
                    <a:gd name="T96" fmla="*/ 593128 w 633095"/>
                    <a:gd name="T97" fmla="*/ 146418 h 387350"/>
                    <a:gd name="T98" fmla="*/ 601865 w 633095"/>
                    <a:gd name="T99" fmla="*/ 145135 h 387350"/>
                    <a:gd name="T100" fmla="*/ 609841 w 633095"/>
                    <a:gd name="T101" fmla="*/ 141503 h 387350"/>
                    <a:gd name="T102" fmla="*/ 616470 w 633095"/>
                    <a:gd name="T103" fmla="*/ 135839 h 387350"/>
                    <a:gd name="T104" fmla="*/ 621169 w 633095"/>
                    <a:gd name="T105" fmla="*/ 128485 h 387350"/>
                    <a:gd name="T106" fmla="*/ 632548 w 633095"/>
                    <a:gd name="T107" fmla="*/ 100926 h 387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3095" h="387350">
                      <a:moveTo>
                        <a:pt x="248602" y="180149"/>
                      </a:moveTo>
                      <a:lnTo>
                        <a:pt x="32524" y="180149"/>
                      </a:lnTo>
                      <a:lnTo>
                        <a:pt x="43903" y="207721"/>
                      </a:lnTo>
                      <a:lnTo>
                        <a:pt x="48602" y="215074"/>
                      </a:lnTo>
                      <a:lnTo>
                        <a:pt x="55219" y="220726"/>
                      </a:lnTo>
                      <a:lnTo>
                        <a:pt x="63207" y="224358"/>
                      </a:lnTo>
                      <a:lnTo>
                        <a:pt x="71945" y="225640"/>
                      </a:lnTo>
                      <a:lnTo>
                        <a:pt x="248602" y="225640"/>
                      </a:lnTo>
                      <a:lnTo>
                        <a:pt x="248602" y="180149"/>
                      </a:lnTo>
                      <a:close/>
                    </a:path>
                    <a:path w="633095" h="387350">
                      <a:moveTo>
                        <a:pt x="248602" y="100914"/>
                      </a:moveTo>
                      <a:lnTo>
                        <a:pt x="0" y="100914"/>
                      </a:lnTo>
                      <a:lnTo>
                        <a:pt x="11379" y="128473"/>
                      </a:lnTo>
                      <a:lnTo>
                        <a:pt x="16078" y="135839"/>
                      </a:lnTo>
                      <a:lnTo>
                        <a:pt x="22694" y="141490"/>
                      </a:lnTo>
                      <a:lnTo>
                        <a:pt x="30670" y="145135"/>
                      </a:lnTo>
                      <a:lnTo>
                        <a:pt x="39408" y="146418"/>
                      </a:lnTo>
                      <a:lnTo>
                        <a:pt x="248602" y="146418"/>
                      </a:lnTo>
                      <a:lnTo>
                        <a:pt x="248602" y="100914"/>
                      </a:lnTo>
                      <a:close/>
                    </a:path>
                    <a:path w="633095" h="387350">
                      <a:moveTo>
                        <a:pt x="383908" y="343484"/>
                      </a:moveTo>
                      <a:lnTo>
                        <a:pt x="353504" y="343484"/>
                      </a:lnTo>
                      <a:lnTo>
                        <a:pt x="348869" y="338924"/>
                      </a:lnTo>
                      <a:lnTo>
                        <a:pt x="348869" y="0"/>
                      </a:lnTo>
                      <a:lnTo>
                        <a:pt x="323748" y="0"/>
                      </a:lnTo>
                      <a:lnTo>
                        <a:pt x="262750" y="25336"/>
                      </a:lnTo>
                      <a:lnTo>
                        <a:pt x="254584" y="28219"/>
                      </a:lnTo>
                      <a:lnTo>
                        <a:pt x="254584" y="56146"/>
                      </a:lnTo>
                      <a:lnTo>
                        <a:pt x="279349" y="56146"/>
                      </a:lnTo>
                      <a:lnTo>
                        <a:pt x="283641" y="60350"/>
                      </a:lnTo>
                      <a:lnTo>
                        <a:pt x="283641" y="338924"/>
                      </a:lnTo>
                      <a:lnTo>
                        <a:pt x="279006" y="343484"/>
                      </a:lnTo>
                      <a:lnTo>
                        <a:pt x="248602" y="343484"/>
                      </a:lnTo>
                      <a:lnTo>
                        <a:pt x="248602" y="387286"/>
                      </a:lnTo>
                      <a:lnTo>
                        <a:pt x="383908" y="387286"/>
                      </a:lnTo>
                      <a:lnTo>
                        <a:pt x="383908" y="343484"/>
                      </a:lnTo>
                      <a:close/>
                    </a:path>
                    <a:path w="633095" h="387350">
                      <a:moveTo>
                        <a:pt x="599986" y="180149"/>
                      </a:moveTo>
                      <a:lnTo>
                        <a:pt x="383908" y="180149"/>
                      </a:lnTo>
                      <a:lnTo>
                        <a:pt x="383908" y="225640"/>
                      </a:lnTo>
                      <a:lnTo>
                        <a:pt x="560565" y="225640"/>
                      </a:lnTo>
                      <a:lnTo>
                        <a:pt x="569315" y="224358"/>
                      </a:lnTo>
                      <a:lnTo>
                        <a:pt x="577291" y="220726"/>
                      </a:lnTo>
                      <a:lnTo>
                        <a:pt x="583920" y="215074"/>
                      </a:lnTo>
                      <a:lnTo>
                        <a:pt x="588619" y="207721"/>
                      </a:lnTo>
                      <a:lnTo>
                        <a:pt x="599986" y="180149"/>
                      </a:lnTo>
                      <a:close/>
                    </a:path>
                    <a:path w="633095" h="387350">
                      <a:moveTo>
                        <a:pt x="632548" y="100926"/>
                      </a:moveTo>
                      <a:lnTo>
                        <a:pt x="436905" y="100926"/>
                      </a:lnTo>
                      <a:lnTo>
                        <a:pt x="436905" y="88277"/>
                      </a:lnTo>
                      <a:lnTo>
                        <a:pt x="383946" y="88277"/>
                      </a:lnTo>
                      <a:lnTo>
                        <a:pt x="383921" y="146418"/>
                      </a:lnTo>
                      <a:lnTo>
                        <a:pt x="593128" y="146418"/>
                      </a:lnTo>
                      <a:lnTo>
                        <a:pt x="601865" y="145135"/>
                      </a:lnTo>
                      <a:lnTo>
                        <a:pt x="609841" y="141503"/>
                      </a:lnTo>
                      <a:lnTo>
                        <a:pt x="616470" y="135839"/>
                      </a:lnTo>
                      <a:lnTo>
                        <a:pt x="621169" y="128485"/>
                      </a:lnTo>
                      <a:lnTo>
                        <a:pt x="632548" y="100926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106" name="object 77"/>
                <p:cNvPicPr>
                  <a:picLocks noChangeArrowheads="1"/>
                </p:cNvPicPr>
                <p:nvPr/>
              </p:nvPicPr>
              <p:blipFill>
                <a:blip r:embed="rId1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38100" y="7134680"/>
                  <a:ext cx="178633" cy="6731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87" name="组合 86"/>
            <p:cNvGrpSpPr/>
            <p:nvPr userDrawn="1"/>
          </p:nvGrpSpPr>
          <p:grpSpPr>
            <a:xfrm>
              <a:off x="8416113" y="2195514"/>
              <a:ext cx="972114" cy="930216"/>
              <a:chOff x="8697913" y="3270250"/>
              <a:chExt cx="5510212" cy="5272723"/>
            </a:xfrm>
          </p:grpSpPr>
          <p:sp>
            <p:nvSpPr>
              <p:cNvPr id="88" name="object 2"/>
              <p:cNvSpPr>
                <a:spLocks noChangeArrowheads="1"/>
              </p:cNvSpPr>
              <p:nvPr userDrawn="1"/>
            </p:nvSpPr>
            <p:spPr bwMode="auto">
              <a:xfrm>
                <a:off x="10174288" y="4516438"/>
                <a:ext cx="271462" cy="287337"/>
              </a:xfrm>
              <a:custGeom>
                <a:avLst/>
                <a:gdLst>
                  <a:gd name="T0" fmla="*/ 133074 w 271145"/>
                  <a:gd name="T1" fmla="*/ 0 h 287020"/>
                  <a:gd name="T2" fmla="*/ 80102 w 271145"/>
                  <a:gd name="T3" fmla="*/ 10250 h 287020"/>
                  <a:gd name="T4" fmla="*/ 36616 w 271145"/>
                  <a:gd name="T5" fmla="*/ 40951 h 287020"/>
                  <a:gd name="T6" fmla="*/ 8063 w 271145"/>
                  <a:gd name="T7" fmla="*/ 86638 h 287020"/>
                  <a:gd name="T8" fmla="*/ 0 w 271145"/>
                  <a:gd name="T9" fmla="*/ 141733 h 287020"/>
                  <a:gd name="T10" fmla="*/ 0 w 271145"/>
                  <a:gd name="T11" fmla="*/ 148037 h 287020"/>
                  <a:gd name="T12" fmla="*/ 8398 w 271145"/>
                  <a:gd name="T13" fmla="*/ 200813 h 287020"/>
                  <a:gd name="T14" fmla="*/ 37286 w 271145"/>
                  <a:gd name="T15" fmla="*/ 245688 h 287020"/>
                  <a:gd name="T16" fmla="*/ 81354 w 271145"/>
                  <a:gd name="T17" fmla="*/ 276409 h 287020"/>
                  <a:gd name="T18" fmla="*/ 134917 w 271145"/>
                  <a:gd name="T19" fmla="*/ 286640 h 287020"/>
                  <a:gd name="T20" fmla="*/ 163142 w 271145"/>
                  <a:gd name="T21" fmla="*/ 284083 h 287020"/>
                  <a:gd name="T22" fmla="*/ 211363 w 271145"/>
                  <a:gd name="T23" fmla="*/ 263612 h 287020"/>
                  <a:gd name="T24" fmla="*/ 250011 w 271145"/>
                  <a:gd name="T25" fmla="*/ 224243 h 287020"/>
                  <a:gd name="T26" fmla="*/ 268661 w 271145"/>
                  <a:gd name="T27" fmla="*/ 175407 h 287020"/>
                  <a:gd name="T28" fmla="*/ 270808 w 271145"/>
                  <a:gd name="T29" fmla="*/ 148037 h 287020"/>
                  <a:gd name="T30" fmla="*/ 270808 w 271145"/>
                  <a:gd name="T31" fmla="*/ 141733 h 287020"/>
                  <a:gd name="T32" fmla="*/ 261892 w 271145"/>
                  <a:gd name="T33" fmla="*/ 86638 h 287020"/>
                  <a:gd name="T34" fmla="*/ 232526 w 271145"/>
                  <a:gd name="T35" fmla="*/ 40951 h 287020"/>
                  <a:gd name="T36" fmla="*/ 187512 w 271145"/>
                  <a:gd name="T37" fmla="*/ 10250 h 287020"/>
                  <a:gd name="T38" fmla="*/ 133074 w 271145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1145" h="287020">
                    <a:moveTo>
                      <a:pt x="133074" y="0"/>
                    </a:moveTo>
                    <a:lnTo>
                      <a:pt x="80102" y="10250"/>
                    </a:lnTo>
                    <a:lnTo>
                      <a:pt x="36616" y="40951"/>
                    </a:lnTo>
                    <a:lnTo>
                      <a:pt x="8063" y="86638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8398" y="200813"/>
                    </a:lnTo>
                    <a:lnTo>
                      <a:pt x="37286" y="245688"/>
                    </a:lnTo>
                    <a:lnTo>
                      <a:pt x="81354" y="276409"/>
                    </a:lnTo>
                    <a:lnTo>
                      <a:pt x="134917" y="286640"/>
                    </a:lnTo>
                    <a:lnTo>
                      <a:pt x="163142" y="284083"/>
                    </a:lnTo>
                    <a:lnTo>
                      <a:pt x="211363" y="263612"/>
                    </a:lnTo>
                    <a:lnTo>
                      <a:pt x="250011" y="224243"/>
                    </a:lnTo>
                    <a:lnTo>
                      <a:pt x="268661" y="175407"/>
                    </a:lnTo>
                    <a:lnTo>
                      <a:pt x="270808" y="148037"/>
                    </a:lnTo>
                    <a:lnTo>
                      <a:pt x="270808" y="141733"/>
                    </a:lnTo>
                    <a:lnTo>
                      <a:pt x="261892" y="86638"/>
                    </a:lnTo>
                    <a:lnTo>
                      <a:pt x="232526" y="40951"/>
                    </a:lnTo>
                    <a:lnTo>
                      <a:pt x="187512" y="10250"/>
                    </a:lnTo>
                    <a:lnTo>
                      <a:pt x="133074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89" name="object 3"/>
              <p:cNvSpPr>
                <a:spLocks noChangeArrowheads="1"/>
              </p:cNvSpPr>
              <p:nvPr userDrawn="1"/>
            </p:nvSpPr>
            <p:spPr bwMode="auto">
              <a:xfrm>
                <a:off x="9099550" y="4516438"/>
                <a:ext cx="287338" cy="287337"/>
              </a:xfrm>
              <a:custGeom>
                <a:avLst/>
                <a:gdLst>
                  <a:gd name="T0" fmla="*/ 143231 w 287654"/>
                  <a:gd name="T1" fmla="*/ 0 h 287020"/>
                  <a:gd name="T2" fmla="*/ 87502 w 287654"/>
                  <a:gd name="T3" fmla="*/ 10250 h 287020"/>
                  <a:gd name="T4" fmla="*/ 41339 w 287654"/>
                  <a:gd name="T5" fmla="*/ 40951 h 287020"/>
                  <a:gd name="T6" fmla="*/ 10315 w 287654"/>
                  <a:gd name="T7" fmla="*/ 86634 h 287020"/>
                  <a:gd name="T8" fmla="*/ 0 w 287654"/>
                  <a:gd name="T9" fmla="*/ 141733 h 287020"/>
                  <a:gd name="T10" fmla="*/ 0 w 287654"/>
                  <a:gd name="T11" fmla="*/ 148037 h 287020"/>
                  <a:gd name="T12" fmla="*/ 10315 w 287654"/>
                  <a:gd name="T13" fmla="*/ 200809 h 287020"/>
                  <a:gd name="T14" fmla="*/ 41339 w 287654"/>
                  <a:gd name="T15" fmla="*/ 245688 h 287020"/>
                  <a:gd name="T16" fmla="*/ 87513 w 287654"/>
                  <a:gd name="T17" fmla="*/ 276409 h 287020"/>
                  <a:gd name="T18" fmla="*/ 143252 w 287654"/>
                  <a:gd name="T19" fmla="*/ 286640 h 287020"/>
                  <a:gd name="T20" fmla="*/ 171199 w 287654"/>
                  <a:gd name="T21" fmla="*/ 284083 h 287020"/>
                  <a:gd name="T22" fmla="*/ 221874 w 287654"/>
                  <a:gd name="T23" fmla="*/ 263612 h 287020"/>
                  <a:gd name="T24" fmla="*/ 262293 w 287654"/>
                  <a:gd name="T25" fmla="*/ 224239 h 287020"/>
                  <a:gd name="T26" fmla="*/ 284327 w 287654"/>
                  <a:gd name="T27" fmla="*/ 175406 h 287020"/>
                  <a:gd name="T28" fmla="*/ 287216 w 287654"/>
                  <a:gd name="T29" fmla="*/ 148037 h 287020"/>
                  <a:gd name="T30" fmla="*/ 287216 w 287654"/>
                  <a:gd name="T31" fmla="*/ 141733 h 287020"/>
                  <a:gd name="T32" fmla="*/ 275894 w 287654"/>
                  <a:gd name="T33" fmla="*/ 86634 h 287020"/>
                  <a:gd name="T34" fmla="*/ 243856 w 287654"/>
                  <a:gd name="T35" fmla="*/ 40951 h 287020"/>
                  <a:gd name="T36" fmla="*/ 197513 w 287654"/>
                  <a:gd name="T37" fmla="*/ 10250 h 287020"/>
                  <a:gd name="T38" fmla="*/ 143231 w 287654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7654" h="287020">
                    <a:moveTo>
                      <a:pt x="143231" y="0"/>
                    </a:moveTo>
                    <a:lnTo>
                      <a:pt x="87502" y="10250"/>
                    </a:lnTo>
                    <a:lnTo>
                      <a:pt x="41339" y="40951"/>
                    </a:lnTo>
                    <a:lnTo>
                      <a:pt x="10315" y="86634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10315" y="200809"/>
                    </a:lnTo>
                    <a:lnTo>
                      <a:pt x="41339" y="245688"/>
                    </a:lnTo>
                    <a:lnTo>
                      <a:pt x="87513" y="276409"/>
                    </a:lnTo>
                    <a:lnTo>
                      <a:pt x="143252" y="286640"/>
                    </a:lnTo>
                    <a:lnTo>
                      <a:pt x="171199" y="284083"/>
                    </a:lnTo>
                    <a:lnTo>
                      <a:pt x="221874" y="263612"/>
                    </a:lnTo>
                    <a:lnTo>
                      <a:pt x="262293" y="224239"/>
                    </a:lnTo>
                    <a:lnTo>
                      <a:pt x="284327" y="175406"/>
                    </a:lnTo>
                    <a:lnTo>
                      <a:pt x="287216" y="148037"/>
                    </a:lnTo>
                    <a:lnTo>
                      <a:pt x="287216" y="141733"/>
                    </a:lnTo>
                    <a:lnTo>
                      <a:pt x="275894" y="86634"/>
                    </a:lnTo>
                    <a:lnTo>
                      <a:pt x="243856" y="40951"/>
                    </a:lnTo>
                    <a:lnTo>
                      <a:pt x="197513" y="10250"/>
                    </a:lnTo>
                    <a:lnTo>
                      <a:pt x="143231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0" name="object 4"/>
              <p:cNvSpPr>
                <a:spLocks noChangeArrowheads="1"/>
              </p:cNvSpPr>
              <p:nvPr userDrawn="1"/>
            </p:nvSpPr>
            <p:spPr bwMode="auto">
              <a:xfrm>
                <a:off x="9077325" y="4926013"/>
                <a:ext cx="1887538" cy="1328737"/>
              </a:xfrm>
              <a:custGeom>
                <a:avLst/>
                <a:gdLst>
                  <a:gd name="T0" fmla="*/ 242340 w 1887854"/>
                  <a:gd name="T1" fmla="*/ 1448 h 1329689"/>
                  <a:gd name="T2" fmla="*/ 138409 w 1887854"/>
                  <a:gd name="T3" fmla="*/ 95040 h 1329689"/>
                  <a:gd name="T4" fmla="*/ 158085 w 1887854"/>
                  <a:gd name="T5" fmla="*/ 193460 h 1329689"/>
                  <a:gd name="T6" fmla="*/ 268243 w 1887854"/>
                  <a:gd name="T7" fmla="*/ 254390 h 1329689"/>
                  <a:gd name="T8" fmla="*/ 810027 w 1887854"/>
                  <a:gd name="T9" fmla="*/ 286421 h 1329689"/>
                  <a:gd name="T10" fmla="*/ 809397 w 1887854"/>
                  <a:gd name="T11" fmla="*/ 322637 h 1329689"/>
                  <a:gd name="T12" fmla="*/ 784803 w 1887854"/>
                  <a:gd name="T13" fmla="*/ 336450 h 1329689"/>
                  <a:gd name="T14" fmla="*/ 306126 w 1887854"/>
                  <a:gd name="T15" fmla="*/ 359663 h 1329689"/>
                  <a:gd name="T16" fmla="*/ 246201 w 1887854"/>
                  <a:gd name="T17" fmla="*/ 469064 h 1329689"/>
                  <a:gd name="T18" fmla="*/ 306126 w 1887854"/>
                  <a:gd name="T19" fmla="*/ 577896 h 1329689"/>
                  <a:gd name="T20" fmla="*/ 772206 w 1887854"/>
                  <a:gd name="T21" fmla="*/ 599060 h 1329689"/>
                  <a:gd name="T22" fmla="*/ 810456 w 1887854"/>
                  <a:gd name="T23" fmla="*/ 646598 h 1329689"/>
                  <a:gd name="T24" fmla="*/ 805495 w 1887854"/>
                  <a:gd name="T25" fmla="*/ 683723 h 1329689"/>
                  <a:gd name="T26" fmla="*/ 129137 w 1887854"/>
                  <a:gd name="T27" fmla="*/ 689329 h 1329689"/>
                  <a:gd name="T28" fmla="*/ 21260 w 1887854"/>
                  <a:gd name="T29" fmla="*/ 749646 h 1329689"/>
                  <a:gd name="T30" fmla="*/ 2362 w 1887854"/>
                  <a:gd name="T31" fmla="*/ 850648 h 1329689"/>
                  <a:gd name="T32" fmla="*/ 103336 w 1887854"/>
                  <a:gd name="T33" fmla="*/ 949740 h 1329689"/>
                  <a:gd name="T34" fmla="*/ 779522 w 1887854"/>
                  <a:gd name="T35" fmla="*/ 953076 h 1329689"/>
                  <a:gd name="T36" fmla="*/ 810456 w 1887854"/>
                  <a:gd name="T37" fmla="*/ 1005686 h 1329689"/>
                  <a:gd name="T38" fmla="*/ 524356 w 1887854"/>
                  <a:gd name="T39" fmla="*/ 1045594 h 1329689"/>
                  <a:gd name="T40" fmla="*/ 415687 w 1887854"/>
                  <a:gd name="T41" fmla="*/ 1161054 h 1329689"/>
                  <a:gd name="T42" fmla="*/ 436156 w 1887854"/>
                  <a:gd name="T43" fmla="*/ 1267476 h 1329689"/>
                  <a:gd name="T44" fmla="*/ 551721 w 1887854"/>
                  <a:gd name="T45" fmla="*/ 1329425 h 1329689"/>
                  <a:gd name="T46" fmla="*/ 923395 w 1887854"/>
                  <a:gd name="T47" fmla="*/ 1309289 h 1329689"/>
                  <a:gd name="T48" fmla="*/ 1046496 w 1887854"/>
                  <a:gd name="T49" fmla="*/ 1209310 h 1329689"/>
                  <a:gd name="T50" fmla="*/ 1097673 w 1887854"/>
                  <a:gd name="T51" fmla="*/ 1052931 h 1329689"/>
                  <a:gd name="T52" fmla="*/ 1123262 w 1887854"/>
                  <a:gd name="T53" fmla="*/ 956309 h 1329689"/>
                  <a:gd name="T54" fmla="*/ 1779135 w 1887854"/>
                  <a:gd name="T55" fmla="*/ 949828 h 1329689"/>
                  <a:gd name="T56" fmla="*/ 1884859 w 1887854"/>
                  <a:gd name="T57" fmla="*/ 850983 h 1329689"/>
                  <a:gd name="T58" fmla="*/ 1865158 w 1887854"/>
                  <a:gd name="T59" fmla="*/ 749337 h 1329689"/>
                  <a:gd name="T60" fmla="*/ 1751873 w 1887854"/>
                  <a:gd name="T61" fmla="*/ 689329 h 1329689"/>
                  <a:gd name="T62" fmla="*/ 1100169 w 1887854"/>
                  <a:gd name="T63" fmla="*/ 663191 h 1329689"/>
                  <a:gd name="T64" fmla="*/ 1098985 w 1887854"/>
                  <a:gd name="T65" fmla="*/ 619698 h 1329689"/>
                  <a:gd name="T66" fmla="*/ 1124981 w 1887854"/>
                  <a:gd name="T67" fmla="*/ 599060 h 1329689"/>
                  <a:gd name="T68" fmla="*/ 1603643 w 1887854"/>
                  <a:gd name="T69" fmla="*/ 578382 h 1329689"/>
                  <a:gd name="T70" fmla="*/ 1663603 w 1887854"/>
                  <a:gd name="T71" fmla="*/ 469357 h 1329689"/>
                  <a:gd name="T72" fmla="*/ 1603643 w 1887854"/>
                  <a:gd name="T73" fmla="*/ 359297 h 1329689"/>
                  <a:gd name="T74" fmla="*/ 1137577 w 1887854"/>
                  <a:gd name="T75" fmla="*/ 336450 h 1329689"/>
                  <a:gd name="T76" fmla="*/ 1097673 w 1887854"/>
                  <a:gd name="T77" fmla="*/ 293823 h 1329689"/>
                  <a:gd name="T78" fmla="*/ 1103446 w 1887854"/>
                  <a:gd name="T79" fmla="*/ 259947 h 1329689"/>
                  <a:gd name="T80" fmla="*/ 1641552 w 1887854"/>
                  <a:gd name="T81" fmla="*/ 254390 h 1329689"/>
                  <a:gd name="T82" fmla="*/ 1751692 w 1887854"/>
                  <a:gd name="T83" fmla="*/ 191953 h 1329689"/>
                  <a:gd name="T84" fmla="*/ 1771379 w 1887854"/>
                  <a:gd name="T85" fmla="*/ 93647 h 1329689"/>
                  <a:gd name="T86" fmla="*/ 1667429 w 1887854"/>
                  <a:gd name="T87" fmla="*/ 1538 h 1329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87854" h="1329689">
                    <a:moveTo>
                      <a:pt x="1641552" y="0"/>
                    </a:moveTo>
                    <a:lnTo>
                      <a:pt x="268243" y="0"/>
                    </a:lnTo>
                    <a:lnTo>
                      <a:pt x="242340" y="1448"/>
                    </a:lnTo>
                    <a:lnTo>
                      <a:pt x="195884" y="16326"/>
                    </a:lnTo>
                    <a:lnTo>
                      <a:pt x="158085" y="51373"/>
                    </a:lnTo>
                    <a:lnTo>
                      <a:pt x="138409" y="95040"/>
                    </a:lnTo>
                    <a:lnTo>
                      <a:pt x="135953" y="120362"/>
                    </a:lnTo>
                    <a:lnTo>
                      <a:pt x="138409" y="146405"/>
                    </a:lnTo>
                    <a:lnTo>
                      <a:pt x="158085" y="193460"/>
                    </a:lnTo>
                    <a:lnTo>
                      <a:pt x="195884" y="231525"/>
                    </a:lnTo>
                    <a:lnTo>
                      <a:pt x="242340" y="251797"/>
                    </a:lnTo>
                    <a:lnTo>
                      <a:pt x="268243" y="254390"/>
                    </a:lnTo>
                    <a:lnTo>
                      <a:pt x="772206" y="254390"/>
                    </a:lnTo>
                    <a:lnTo>
                      <a:pt x="779522" y="254912"/>
                    </a:lnTo>
                    <a:lnTo>
                      <a:pt x="810027" y="286421"/>
                    </a:lnTo>
                    <a:lnTo>
                      <a:pt x="810456" y="293823"/>
                    </a:lnTo>
                    <a:lnTo>
                      <a:pt x="810456" y="309571"/>
                    </a:lnTo>
                    <a:lnTo>
                      <a:pt x="809397" y="322637"/>
                    </a:lnTo>
                    <a:lnTo>
                      <a:pt x="805495" y="330891"/>
                    </a:lnTo>
                    <a:lnTo>
                      <a:pt x="797659" y="335205"/>
                    </a:lnTo>
                    <a:lnTo>
                      <a:pt x="784803" y="336450"/>
                    </a:lnTo>
                    <a:lnTo>
                      <a:pt x="378491" y="336450"/>
                    </a:lnTo>
                    <a:lnTo>
                      <a:pt x="352584" y="339174"/>
                    </a:lnTo>
                    <a:lnTo>
                      <a:pt x="306126" y="359663"/>
                    </a:lnTo>
                    <a:lnTo>
                      <a:pt x="268324" y="396629"/>
                    </a:lnTo>
                    <a:lnTo>
                      <a:pt x="248656" y="443103"/>
                    </a:lnTo>
                    <a:lnTo>
                      <a:pt x="246201" y="469064"/>
                    </a:lnTo>
                    <a:lnTo>
                      <a:pt x="248656" y="494786"/>
                    </a:lnTo>
                    <a:lnTo>
                      <a:pt x="268324" y="540455"/>
                    </a:lnTo>
                    <a:lnTo>
                      <a:pt x="306126" y="577896"/>
                    </a:lnTo>
                    <a:lnTo>
                      <a:pt x="352584" y="596783"/>
                    </a:lnTo>
                    <a:lnTo>
                      <a:pt x="378491" y="599060"/>
                    </a:lnTo>
                    <a:lnTo>
                      <a:pt x="772206" y="599060"/>
                    </a:lnTo>
                    <a:lnTo>
                      <a:pt x="779522" y="600215"/>
                    </a:lnTo>
                    <a:lnTo>
                      <a:pt x="808374" y="630391"/>
                    </a:lnTo>
                    <a:lnTo>
                      <a:pt x="810456" y="646598"/>
                    </a:lnTo>
                    <a:lnTo>
                      <a:pt x="810456" y="662356"/>
                    </a:lnTo>
                    <a:lnTo>
                      <a:pt x="809397" y="675437"/>
                    </a:lnTo>
                    <a:lnTo>
                      <a:pt x="805495" y="683723"/>
                    </a:lnTo>
                    <a:lnTo>
                      <a:pt x="797659" y="688070"/>
                    </a:lnTo>
                    <a:lnTo>
                      <a:pt x="784803" y="689329"/>
                    </a:lnTo>
                    <a:lnTo>
                      <a:pt x="129137" y="689329"/>
                    </a:lnTo>
                    <a:lnTo>
                      <a:pt x="103336" y="692045"/>
                    </a:lnTo>
                    <a:lnTo>
                      <a:pt x="57675" y="712499"/>
                    </a:lnTo>
                    <a:lnTo>
                      <a:pt x="21260" y="749646"/>
                    </a:lnTo>
                    <a:lnTo>
                      <a:pt x="2362" y="797675"/>
                    </a:lnTo>
                    <a:lnTo>
                      <a:pt x="0" y="825021"/>
                    </a:lnTo>
                    <a:lnTo>
                      <a:pt x="2362" y="850648"/>
                    </a:lnTo>
                    <a:lnTo>
                      <a:pt x="21260" y="895542"/>
                    </a:lnTo>
                    <a:lnTo>
                      <a:pt x="57675" y="931609"/>
                    </a:lnTo>
                    <a:lnTo>
                      <a:pt x="103336" y="949740"/>
                    </a:lnTo>
                    <a:lnTo>
                      <a:pt x="129137" y="951929"/>
                    </a:lnTo>
                    <a:lnTo>
                      <a:pt x="772206" y="951929"/>
                    </a:lnTo>
                    <a:lnTo>
                      <a:pt x="779522" y="953076"/>
                    </a:lnTo>
                    <a:lnTo>
                      <a:pt x="808374" y="983976"/>
                    </a:lnTo>
                    <a:lnTo>
                      <a:pt x="810456" y="1002534"/>
                    </a:lnTo>
                    <a:lnTo>
                      <a:pt x="810456" y="1005686"/>
                    </a:lnTo>
                    <a:lnTo>
                      <a:pt x="786096" y="1041341"/>
                    </a:lnTo>
                    <a:lnTo>
                      <a:pt x="551721" y="1042198"/>
                    </a:lnTo>
                    <a:lnTo>
                      <a:pt x="524356" y="1045594"/>
                    </a:lnTo>
                    <a:lnTo>
                      <a:pt x="475521" y="1069758"/>
                    </a:lnTo>
                    <a:lnTo>
                      <a:pt x="436156" y="1110379"/>
                    </a:lnTo>
                    <a:lnTo>
                      <a:pt x="415687" y="1161054"/>
                    </a:lnTo>
                    <a:lnTo>
                      <a:pt x="413128" y="1188843"/>
                    </a:lnTo>
                    <a:lnTo>
                      <a:pt x="415687" y="1217473"/>
                    </a:lnTo>
                    <a:lnTo>
                      <a:pt x="436156" y="1267476"/>
                    </a:lnTo>
                    <a:lnTo>
                      <a:pt x="475521" y="1306861"/>
                    </a:lnTo>
                    <a:lnTo>
                      <a:pt x="524356" y="1326951"/>
                    </a:lnTo>
                    <a:lnTo>
                      <a:pt x="551721" y="1329425"/>
                    </a:lnTo>
                    <a:lnTo>
                      <a:pt x="816310" y="1329425"/>
                    </a:lnTo>
                    <a:lnTo>
                      <a:pt x="871423" y="1324858"/>
                    </a:lnTo>
                    <a:lnTo>
                      <a:pt x="923395" y="1309289"/>
                    </a:lnTo>
                    <a:lnTo>
                      <a:pt x="970632" y="1283785"/>
                    </a:lnTo>
                    <a:lnTo>
                      <a:pt x="1011602" y="1250412"/>
                    </a:lnTo>
                    <a:lnTo>
                      <a:pt x="1046496" y="1209310"/>
                    </a:lnTo>
                    <a:lnTo>
                      <a:pt x="1073537" y="1161116"/>
                    </a:lnTo>
                    <a:lnTo>
                      <a:pt x="1091106" y="1108205"/>
                    </a:lnTo>
                    <a:lnTo>
                      <a:pt x="1097673" y="1052931"/>
                    </a:lnTo>
                    <a:lnTo>
                      <a:pt x="1097673" y="1002534"/>
                    </a:lnTo>
                    <a:lnTo>
                      <a:pt x="1098231" y="993115"/>
                    </a:lnTo>
                    <a:lnTo>
                      <a:pt x="1123262" y="956309"/>
                    </a:lnTo>
                    <a:lnTo>
                      <a:pt x="1137577" y="951929"/>
                    </a:lnTo>
                    <a:lnTo>
                      <a:pt x="1751873" y="951929"/>
                    </a:lnTo>
                    <a:lnTo>
                      <a:pt x="1779135" y="949828"/>
                    </a:lnTo>
                    <a:lnTo>
                      <a:pt x="1827156" y="932081"/>
                    </a:lnTo>
                    <a:lnTo>
                      <a:pt x="1865158" y="896061"/>
                    </a:lnTo>
                    <a:lnTo>
                      <a:pt x="1884859" y="850983"/>
                    </a:lnTo>
                    <a:lnTo>
                      <a:pt x="1887324" y="825315"/>
                    </a:lnTo>
                    <a:lnTo>
                      <a:pt x="1884859" y="797853"/>
                    </a:lnTo>
                    <a:lnTo>
                      <a:pt x="1865158" y="749337"/>
                    </a:lnTo>
                    <a:lnTo>
                      <a:pt x="1827156" y="712145"/>
                    </a:lnTo>
                    <a:lnTo>
                      <a:pt x="1779135" y="691979"/>
                    </a:lnTo>
                    <a:lnTo>
                      <a:pt x="1751873" y="689329"/>
                    </a:lnTo>
                    <a:lnTo>
                      <a:pt x="1137577" y="689329"/>
                    </a:lnTo>
                    <a:lnTo>
                      <a:pt x="1130119" y="688797"/>
                    </a:lnTo>
                    <a:lnTo>
                      <a:pt x="1100169" y="663191"/>
                    </a:lnTo>
                    <a:lnTo>
                      <a:pt x="1097673" y="646598"/>
                    </a:lnTo>
                    <a:lnTo>
                      <a:pt x="1097673" y="634001"/>
                    </a:lnTo>
                    <a:lnTo>
                      <a:pt x="1098985" y="619698"/>
                    </a:lnTo>
                    <a:lnTo>
                      <a:pt x="1103446" y="608669"/>
                    </a:lnTo>
                    <a:lnTo>
                      <a:pt x="1111848" y="601571"/>
                    </a:lnTo>
                    <a:lnTo>
                      <a:pt x="1124981" y="599060"/>
                    </a:lnTo>
                    <a:lnTo>
                      <a:pt x="1531304" y="599060"/>
                    </a:lnTo>
                    <a:lnTo>
                      <a:pt x="1557182" y="596873"/>
                    </a:lnTo>
                    <a:lnTo>
                      <a:pt x="1603643" y="578382"/>
                    </a:lnTo>
                    <a:lnTo>
                      <a:pt x="1641450" y="540987"/>
                    </a:lnTo>
                    <a:lnTo>
                      <a:pt x="1661140" y="495123"/>
                    </a:lnTo>
                    <a:lnTo>
                      <a:pt x="1663603" y="469357"/>
                    </a:lnTo>
                    <a:lnTo>
                      <a:pt x="1661140" y="443279"/>
                    </a:lnTo>
                    <a:lnTo>
                      <a:pt x="1641450" y="396306"/>
                    </a:lnTo>
                    <a:lnTo>
                      <a:pt x="1603643" y="359297"/>
                    </a:lnTo>
                    <a:lnTo>
                      <a:pt x="1557182" y="339106"/>
                    </a:lnTo>
                    <a:lnTo>
                      <a:pt x="1531304" y="336450"/>
                    </a:lnTo>
                    <a:lnTo>
                      <a:pt x="1137577" y="336450"/>
                    </a:lnTo>
                    <a:lnTo>
                      <a:pt x="1130119" y="335926"/>
                    </a:lnTo>
                    <a:lnTo>
                      <a:pt x="1100169" y="310392"/>
                    </a:lnTo>
                    <a:lnTo>
                      <a:pt x="1097673" y="293823"/>
                    </a:lnTo>
                    <a:lnTo>
                      <a:pt x="1097673" y="281227"/>
                    </a:lnTo>
                    <a:lnTo>
                      <a:pt x="1098985" y="268190"/>
                    </a:lnTo>
                    <a:lnTo>
                      <a:pt x="1103446" y="259947"/>
                    </a:lnTo>
                    <a:lnTo>
                      <a:pt x="1111848" y="255635"/>
                    </a:lnTo>
                    <a:lnTo>
                      <a:pt x="1124981" y="254390"/>
                    </a:lnTo>
                    <a:lnTo>
                      <a:pt x="1641552" y="254390"/>
                    </a:lnTo>
                    <a:lnTo>
                      <a:pt x="1667429" y="251569"/>
                    </a:lnTo>
                    <a:lnTo>
                      <a:pt x="1713882" y="230293"/>
                    </a:lnTo>
                    <a:lnTo>
                      <a:pt x="1751692" y="191953"/>
                    </a:lnTo>
                    <a:lnTo>
                      <a:pt x="1771379" y="144693"/>
                    </a:lnTo>
                    <a:lnTo>
                      <a:pt x="1773841" y="118603"/>
                    </a:lnTo>
                    <a:lnTo>
                      <a:pt x="1771379" y="93647"/>
                    </a:lnTo>
                    <a:lnTo>
                      <a:pt x="1751692" y="51588"/>
                    </a:lnTo>
                    <a:lnTo>
                      <a:pt x="1713882" y="16812"/>
                    </a:lnTo>
                    <a:lnTo>
                      <a:pt x="1667429" y="1538"/>
                    </a:lnTo>
                    <a:lnTo>
                      <a:pt x="1641552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1" name="object 5"/>
              <p:cNvSpPr>
                <a:spLocks noChangeArrowheads="1"/>
              </p:cNvSpPr>
              <p:nvPr userDrawn="1"/>
            </p:nvSpPr>
            <p:spPr bwMode="auto">
              <a:xfrm>
                <a:off x="9083675" y="3970338"/>
                <a:ext cx="998538" cy="890587"/>
              </a:xfrm>
              <a:custGeom>
                <a:avLst/>
                <a:gdLst>
                  <a:gd name="T0" fmla="*/ 450405 w 998854"/>
                  <a:gd name="T1" fmla="*/ 8084 h 890904"/>
                  <a:gd name="T2" fmla="*/ 374033 w 998854"/>
                  <a:gd name="T3" fmla="*/ 70806 h 890904"/>
                  <a:gd name="T4" fmla="*/ 347642 w 998854"/>
                  <a:gd name="T5" fmla="*/ 159526 h 890904"/>
                  <a:gd name="T6" fmla="*/ 277862 w 998854"/>
                  <a:gd name="T7" fmla="*/ 222912 h 890904"/>
                  <a:gd name="T8" fmla="*/ 141754 w 998854"/>
                  <a:gd name="T9" fmla="*/ 225511 h 890904"/>
                  <a:gd name="T10" fmla="*/ 62594 w 998854"/>
                  <a:gd name="T11" fmla="*/ 242575 h 890904"/>
                  <a:gd name="T12" fmla="*/ 2558 w 998854"/>
                  <a:gd name="T13" fmla="*/ 325110 h 890904"/>
                  <a:gd name="T14" fmla="*/ 2558 w 998854"/>
                  <a:gd name="T15" fmla="*/ 380222 h 890904"/>
                  <a:gd name="T16" fmla="*/ 62594 w 998854"/>
                  <a:gd name="T17" fmla="*/ 467421 h 890904"/>
                  <a:gd name="T18" fmla="*/ 141754 w 998854"/>
                  <a:gd name="T19" fmla="*/ 488121 h 890904"/>
                  <a:gd name="T20" fmla="*/ 279459 w 998854"/>
                  <a:gd name="T21" fmla="*/ 490188 h 890904"/>
                  <a:gd name="T22" fmla="*/ 343964 w 998854"/>
                  <a:gd name="T23" fmla="*/ 535349 h 890904"/>
                  <a:gd name="T24" fmla="*/ 360512 w 998854"/>
                  <a:gd name="T25" fmla="*/ 594557 h 890904"/>
                  <a:gd name="T26" fmla="*/ 362958 w 998854"/>
                  <a:gd name="T27" fmla="*/ 779419 h 890904"/>
                  <a:gd name="T28" fmla="*/ 422324 w 998854"/>
                  <a:gd name="T29" fmla="*/ 867615 h 890904"/>
                  <a:gd name="T30" fmla="*/ 501178 w 998854"/>
                  <a:gd name="T31" fmla="*/ 890643 h 890904"/>
                  <a:gd name="T32" fmla="*/ 575418 w 998854"/>
                  <a:gd name="T33" fmla="*/ 867615 h 890904"/>
                  <a:gd name="T34" fmla="*/ 629664 w 998854"/>
                  <a:gd name="T35" fmla="*/ 779419 h 890904"/>
                  <a:gd name="T36" fmla="*/ 631321 w 998854"/>
                  <a:gd name="T37" fmla="*/ 594557 h 890904"/>
                  <a:gd name="T38" fmla="*/ 652012 w 998854"/>
                  <a:gd name="T39" fmla="*/ 535349 h 890904"/>
                  <a:gd name="T40" fmla="*/ 721407 w 998854"/>
                  <a:gd name="T41" fmla="*/ 490188 h 890904"/>
                  <a:gd name="T42" fmla="*/ 859910 w 998854"/>
                  <a:gd name="T43" fmla="*/ 488121 h 890904"/>
                  <a:gd name="T44" fmla="*/ 938137 w 998854"/>
                  <a:gd name="T45" fmla="*/ 466144 h 890904"/>
                  <a:gd name="T46" fmla="*/ 996030 w 998854"/>
                  <a:gd name="T47" fmla="*/ 379457 h 890904"/>
                  <a:gd name="T48" fmla="*/ 996030 w 998854"/>
                  <a:gd name="T49" fmla="*/ 324584 h 890904"/>
                  <a:gd name="T50" fmla="*/ 938137 w 998854"/>
                  <a:gd name="T51" fmla="*/ 242575 h 890904"/>
                  <a:gd name="T52" fmla="*/ 859910 w 998854"/>
                  <a:gd name="T53" fmla="*/ 225511 h 890904"/>
                  <a:gd name="T54" fmla="*/ 721897 w 998854"/>
                  <a:gd name="T55" fmla="*/ 222897 h 890904"/>
                  <a:gd name="T56" fmla="*/ 651219 w 998854"/>
                  <a:gd name="T57" fmla="*/ 160896 h 890904"/>
                  <a:gd name="T58" fmla="*/ 634188 w 998854"/>
                  <a:gd name="T59" fmla="*/ 96240 h 890904"/>
                  <a:gd name="T60" fmla="*/ 593741 w 998854"/>
                  <a:gd name="T61" fmla="*/ 33831 h 890904"/>
                  <a:gd name="T62" fmla="*/ 526699 w 998854"/>
                  <a:gd name="T63" fmla="*/ 2186 h 890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98854" h="890904">
                    <a:moveTo>
                      <a:pt x="500822" y="0"/>
                    </a:moveTo>
                    <a:lnTo>
                      <a:pt x="450405" y="8084"/>
                    </a:lnTo>
                    <a:lnTo>
                      <a:pt x="406333" y="32700"/>
                    </a:lnTo>
                    <a:lnTo>
                      <a:pt x="374033" y="70806"/>
                    </a:lnTo>
                    <a:lnTo>
                      <a:pt x="354637" y="139661"/>
                    </a:lnTo>
                    <a:lnTo>
                      <a:pt x="347642" y="159526"/>
                    </a:lnTo>
                    <a:lnTo>
                      <a:pt x="326011" y="192800"/>
                    </a:lnTo>
                    <a:lnTo>
                      <a:pt x="277862" y="222912"/>
                    </a:lnTo>
                    <a:lnTo>
                      <a:pt x="258285" y="225511"/>
                    </a:lnTo>
                    <a:lnTo>
                      <a:pt x="141754" y="225511"/>
                    </a:lnTo>
                    <a:lnTo>
                      <a:pt x="112996" y="227032"/>
                    </a:lnTo>
                    <a:lnTo>
                      <a:pt x="62594" y="242575"/>
                    </a:lnTo>
                    <a:lnTo>
                      <a:pt x="23032" y="279161"/>
                    </a:lnTo>
                    <a:lnTo>
                      <a:pt x="2558" y="325110"/>
                    </a:lnTo>
                    <a:lnTo>
                      <a:pt x="0" y="351905"/>
                    </a:lnTo>
                    <a:lnTo>
                      <a:pt x="2558" y="380222"/>
                    </a:lnTo>
                    <a:lnTo>
                      <a:pt x="23032" y="428725"/>
                    </a:lnTo>
                    <a:lnTo>
                      <a:pt x="62594" y="467421"/>
                    </a:lnTo>
                    <a:lnTo>
                      <a:pt x="112996" y="485994"/>
                    </a:lnTo>
                    <a:lnTo>
                      <a:pt x="141754" y="488121"/>
                    </a:lnTo>
                    <a:lnTo>
                      <a:pt x="258285" y="488121"/>
                    </a:lnTo>
                    <a:lnTo>
                      <a:pt x="279459" y="490188"/>
                    </a:lnTo>
                    <a:lnTo>
                      <a:pt x="316178" y="506011"/>
                    </a:lnTo>
                    <a:lnTo>
                      <a:pt x="343964" y="535349"/>
                    </a:lnTo>
                    <a:lnTo>
                      <a:pt x="358630" y="573211"/>
                    </a:lnTo>
                    <a:lnTo>
                      <a:pt x="360512" y="594557"/>
                    </a:lnTo>
                    <a:lnTo>
                      <a:pt x="360512" y="752050"/>
                    </a:lnTo>
                    <a:lnTo>
                      <a:pt x="362958" y="779419"/>
                    </a:lnTo>
                    <a:lnTo>
                      <a:pt x="382935" y="828247"/>
                    </a:lnTo>
                    <a:lnTo>
                      <a:pt x="422324" y="867615"/>
                    </a:lnTo>
                    <a:lnTo>
                      <a:pt x="472480" y="888086"/>
                    </a:lnTo>
                    <a:lnTo>
                      <a:pt x="501178" y="890643"/>
                    </a:lnTo>
                    <a:lnTo>
                      <a:pt x="529002" y="888086"/>
                    </a:lnTo>
                    <a:lnTo>
                      <a:pt x="575418" y="867615"/>
                    </a:lnTo>
                    <a:lnTo>
                      <a:pt x="613174" y="828247"/>
                    </a:lnTo>
                    <a:lnTo>
                      <a:pt x="629664" y="779419"/>
                    </a:lnTo>
                    <a:lnTo>
                      <a:pt x="631321" y="752050"/>
                    </a:lnTo>
                    <a:lnTo>
                      <a:pt x="631321" y="594557"/>
                    </a:lnTo>
                    <a:lnTo>
                      <a:pt x="633972" y="573211"/>
                    </a:lnTo>
                    <a:lnTo>
                      <a:pt x="652012" y="535349"/>
                    </a:lnTo>
                    <a:lnTo>
                      <a:pt x="681327" y="506011"/>
                    </a:lnTo>
                    <a:lnTo>
                      <a:pt x="721407" y="490188"/>
                    </a:lnTo>
                    <a:lnTo>
                      <a:pt x="743359" y="488121"/>
                    </a:lnTo>
                    <a:lnTo>
                      <a:pt x="859910" y="488121"/>
                    </a:lnTo>
                    <a:lnTo>
                      <a:pt x="888529" y="485758"/>
                    </a:lnTo>
                    <a:lnTo>
                      <a:pt x="938137" y="466144"/>
                    </a:lnTo>
                    <a:lnTo>
                      <a:pt x="976339" y="427350"/>
                    </a:lnTo>
                    <a:lnTo>
                      <a:pt x="996030" y="379457"/>
                    </a:lnTo>
                    <a:lnTo>
                      <a:pt x="998493" y="351277"/>
                    </a:lnTo>
                    <a:lnTo>
                      <a:pt x="996030" y="324584"/>
                    </a:lnTo>
                    <a:lnTo>
                      <a:pt x="976339" y="279064"/>
                    </a:lnTo>
                    <a:lnTo>
                      <a:pt x="938137" y="242575"/>
                    </a:lnTo>
                    <a:lnTo>
                      <a:pt x="888529" y="227032"/>
                    </a:lnTo>
                    <a:lnTo>
                      <a:pt x="859910" y="225511"/>
                    </a:lnTo>
                    <a:lnTo>
                      <a:pt x="740207" y="225511"/>
                    </a:lnTo>
                    <a:lnTo>
                      <a:pt x="721897" y="222897"/>
                    </a:lnTo>
                    <a:lnTo>
                      <a:pt x="674063" y="192706"/>
                    </a:lnTo>
                    <a:lnTo>
                      <a:pt x="651219" y="160896"/>
                    </a:lnTo>
                    <a:lnTo>
                      <a:pt x="639425" y="121964"/>
                    </a:lnTo>
                    <a:lnTo>
                      <a:pt x="634188" y="96240"/>
                    </a:lnTo>
                    <a:lnTo>
                      <a:pt x="624833" y="72785"/>
                    </a:lnTo>
                    <a:lnTo>
                      <a:pt x="593741" y="33831"/>
                    </a:lnTo>
                    <a:lnTo>
                      <a:pt x="550807" y="8650"/>
                    </a:lnTo>
                    <a:lnTo>
                      <a:pt x="526699" y="2186"/>
                    </a:lnTo>
                    <a:lnTo>
                      <a:pt x="500822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2" name="object 6"/>
              <p:cNvSpPr>
                <a:spLocks noChangeArrowheads="1"/>
              </p:cNvSpPr>
              <p:nvPr userDrawn="1"/>
            </p:nvSpPr>
            <p:spPr bwMode="auto">
              <a:xfrm>
                <a:off x="8713788" y="3270250"/>
                <a:ext cx="2439987" cy="2995613"/>
              </a:xfrm>
              <a:custGeom>
                <a:avLst/>
                <a:gdLst>
                  <a:gd name="T0" fmla="*/ 1306690 w 2439670"/>
                  <a:gd name="T1" fmla="*/ 42519 h 2995929"/>
                  <a:gd name="T2" fmla="*/ 1174064 w 2439670"/>
                  <a:gd name="T3" fmla="*/ 2667 h 2995929"/>
                  <a:gd name="T4" fmla="*/ 1061224 w 2439670"/>
                  <a:gd name="T5" fmla="*/ 117830 h 2995929"/>
                  <a:gd name="T6" fmla="*/ 1069505 w 2439670"/>
                  <a:gd name="T7" fmla="*/ 209080 h 2995929"/>
                  <a:gd name="T8" fmla="*/ 1204556 w 2439670"/>
                  <a:gd name="T9" fmla="*/ 299237 h 2995929"/>
                  <a:gd name="T10" fmla="*/ 1324762 w 2439670"/>
                  <a:gd name="T11" fmla="*/ 234175 h 2995929"/>
                  <a:gd name="T12" fmla="*/ 1345831 w 2439670"/>
                  <a:gd name="T13" fmla="*/ 148043 h 2995929"/>
                  <a:gd name="T14" fmla="*/ 1318056 w 2439670"/>
                  <a:gd name="T15" fmla="*/ 1288275 h 2995929"/>
                  <a:gd name="T16" fmla="*/ 1186611 w 2439670"/>
                  <a:gd name="T17" fmla="*/ 1249883 h 2995929"/>
                  <a:gd name="T18" fmla="*/ 1077620 w 2439670"/>
                  <a:gd name="T19" fmla="*/ 1360335 h 2995929"/>
                  <a:gd name="T20" fmla="*/ 1085354 w 2439670"/>
                  <a:gd name="T21" fmla="*/ 1448130 h 2995929"/>
                  <a:gd name="T22" fmla="*/ 1213916 w 2439670"/>
                  <a:gd name="T23" fmla="*/ 1533956 h 2995929"/>
                  <a:gd name="T24" fmla="*/ 1336421 w 2439670"/>
                  <a:gd name="T25" fmla="*/ 1471561 h 2995929"/>
                  <a:gd name="T26" fmla="*/ 1362252 w 2439670"/>
                  <a:gd name="T27" fmla="*/ 1389062 h 2995929"/>
                  <a:gd name="T28" fmla="*/ 2248712 w 2439670"/>
                  <a:gd name="T29" fmla="*/ 391464 h 2995929"/>
                  <a:gd name="T30" fmla="*/ 335203 w 2439670"/>
                  <a:gd name="T31" fmla="*/ 342874 h 2995929"/>
                  <a:gd name="T32" fmla="*/ 137947 w 2439670"/>
                  <a:gd name="T33" fmla="*/ 410489 h 2995929"/>
                  <a:gd name="T34" fmla="*/ 19570 w 2439670"/>
                  <a:gd name="T35" fmla="*/ 567309 h 2995929"/>
                  <a:gd name="T36" fmla="*/ 0 w 2439670"/>
                  <a:gd name="T37" fmla="*/ 2850565 h 2995929"/>
                  <a:gd name="T38" fmla="*/ 83870 w 2439670"/>
                  <a:gd name="T39" fmla="*/ 2985478 h 2995929"/>
                  <a:gd name="T40" fmla="*/ 218998 w 2439670"/>
                  <a:gd name="T41" fmla="*/ 2972435 h 2995929"/>
                  <a:gd name="T42" fmla="*/ 287223 w 2439670"/>
                  <a:gd name="T43" fmla="*/ 775119 h 2995929"/>
                  <a:gd name="T44" fmla="*/ 347002 w 2439670"/>
                  <a:gd name="T45" fmla="*/ 674839 h 2995929"/>
                  <a:gd name="T46" fmla="*/ 2146338 w 2439670"/>
                  <a:gd name="T47" fmla="*/ 654710 h 2995929"/>
                  <a:gd name="T48" fmla="*/ 2267318 w 2439670"/>
                  <a:gd name="T49" fmla="*/ 585000 h 2995929"/>
                  <a:gd name="T50" fmla="*/ 2412669 w 2439670"/>
                  <a:gd name="T51" fmla="*/ 1389062 h 2995929"/>
                  <a:gd name="T52" fmla="*/ 2334171 w 2439670"/>
                  <a:gd name="T53" fmla="*/ 1257579 h 2995929"/>
                  <a:gd name="T54" fmla="*/ 2208479 w 2439670"/>
                  <a:gd name="T55" fmla="*/ 1270368 h 2995929"/>
                  <a:gd name="T56" fmla="*/ 2150059 w 2439670"/>
                  <a:gd name="T57" fmla="*/ 1389062 h 2995929"/>
                  <a:gd name="T58" fmla="*/ 2187575 w 2439670"/>
                  <a:gd name="T59" fmla="*/ 1493012 h 2995929"/>
                  <a:gd name="T60" fmla="*/ 2311247 w 2439670"/>
                  <a:gd name="T61" fmla="*/ 1531404 h 2995929"/>
                  <a:gd name="T62" fmla="*/ 2411095 w 2439670"/>
                  <a:gd name="T63" fmla="*/ 1422730 h 2995929"/>
                  <a:gd name="T64" fmla="*/ 2439276 w 2439670"/>
                  <a:gd name="T65" fmla="*/ 1048258 h 2995929"/>
                  <a:gd name="T66" fmla="*/ 2352649 w 2439670"/>
                  <a:gd name="T67" fmla="*/ 932192 h 2995929"/>
                  <a:gd name="T68" fmla="*/ 2161400 w 2439670"/>
                  <a:gd name="T69" fmla="*/ 922909 h 2995929"/>
                  <a:gd name="T70" fmla="*/ 2080209 w 2439670"/>
                  <a:gd name="T71" fmla="*/ 821969 h 2995929"/>
                  <a:gd name="T72" fmla="*/ 2032952 w 2439670"/>
                  <a:gd name="T73" fmla="*/ 733844 h 2995929"/>
                  <a:gd name="T74" fmla="*/ 1912543 w 2439670"/>
                  <a:gd name="T75" fmla="*/ 702017 h 2995929"/>
                  <a:gd name="T76" fmla="*/ 1805076 w 2439670"/>
                  <a:gd name="T77" fmla="*/ 793673 h 2995929"/>
                  <a:gd name="T78" fmla="*/ 1766785 w 2439670"/>
                  <a:gd name="T79" fmla="*/ 892810 h 2995929"/>
                  <a:gd name="T80" fmla="*/ 1579384 w 2439670"/>
                  <a:gd name="T81" fmla="*/ 925525 h 2995929"/>
                  <a:gd name="T82" fmla="*/ 1462925 w 2439670"/>
                  <a:gd name="T83" fmla="*/ 979170 h 2995929"/>
                  <a:gd name="T84" fmla="*/ 1443240 w 2439670"/>
                  <a:gd name="T85" fmla="*/ 1080223 h 2995929"/>
                  <a:gd name="T86" fmla="*/ 1550720 w 2439670"/>
                  <a:gd name="T87" fmla="*/ 1186002 h 2995929"/>
                  <a:gd name="T88" fmla="*/ 1716227 w 2439670"/>
                  <a:gd name="T89" fmla="*/ 1190193 h 2995929"/>
                  <a:gd name="T90" fmla="*/ 1788985 w 2439670"/>
                  <a:gd name="T91" fmla="*/ 1294574 h 2995929"/>
                  <a:gd name="T92" fmla="*/ 1815706 w 2439670"/>
                  <a:gd name="T93" fmla="*/ 1528254 h 2995929"/>
                  <a:gd name="T94" fmla="*/ 1935734 w 2439670"/>
                  <a:gd name="T95" fmla="*/ 1590649 h 2995929"/>
                  <a:gd name="T96" fmla="*/ 2067928 w 2439670"/>
                  <a:gd name="T97" fmla="*/ 1528254 h 2995929"/>
                  <a:gd name="T98" fmla="*/ 2100821 w 2439670"/>
                  <a:gd name="T99" fmla="*/ 1294574 h 2995929"/>
                  <a:gd name="T100" fmla="*/ 2134654 w 2439670"/>
                  <a:gd name="T101" fmla="*/ 1206017 h 2995929"/>
                  <a:gd name="T102" fmla="*/ 2326271 w 2439670"/>
                  <a:gd name="T103" fmla="*/ 1185773 h 2995929"/>
                  <a:gd name="T104" fmla="*/ 2436711 w 2439670"/>
                  <a:gd name="T105" fmla="*/ 1076921 h 2995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39670" h="2995929">
                    <a:moveTo>
                      <a:pt x="1345831" y="148043"/>
                    </a:moveTo>
                    <a:lnTo>
                      <a:pt x="1336890" y="90170"/>
                    </a:lnTo>
                    <a:lnTo>
                      <a:pt x="1306690" y="42519"/>
                    </a:lnTo>
                    <a:lnTo>
                      <a:pt x="1259890" y="10629"/>
                    </a:lnTo>
                    <a:lnTo>
                      <a:pt x="1202880" y="0"/>
                    </a:lnTo>
                    <a:lnTo>
                      <a:pt x="1174064" y="2667"/>
                    </a:lnTo>
                    <a:lnTo>
                      <a:pt x="1123111" y="23914"/>
                    </a:lnTo>
                    <a:lnTo>
                      <a:pt x="1082268" y="65062"/>
                    </a:lnTo>
                    <a:lnTo>
                      <a:pt x="1061224" y="117830"/>
                    </a:lnTo>
                    <a:lnTo>
                      <a:pt x="1058621" y="148043"/>
                    </a:lnTo>
                    <a:lnTo>
                      <a:pt x="1058621" y="151193"/>
                    </a:lnTo>
                    <a:lnTo>
                      <a:pt x="1069505" y="209080"/>
                    </a:lnTo>
                    <a:lnTo>
                      <a:pt x="1101661" y="256705"/>
                    </a:lnTo>
                    <a:lnTo>
                      <a:pt x="1148765" y="288607"/>
                    </a:lnTo>
                    <a:lnTo>
                      <a:pt x="1204556" y="299237"/>
                    </a:lnTo>
                    <a:lnTo>
                      <a:pt x="1234236" y="296570"/>
                    </a:lnTo>
                    <a:lnTo>
                      <a:pt x="1284681" y="275310"/>
                    </a:lnTo>
                    <a:lnTo>
                      <a:pt x="1324762" y="234175"/>
                    </a:lnTo>
                    <a:lnTo>
                      <a:pt x="1343698" y="181419"/>
                    </a:lnTo>
                    <a:lnTo>
                      <a:pt x="1345831" y="151193"/>
                    </a:lnTo>
                    <a:lnTo>
                      <a:pt x="1345831" y="148043"/>
                    </a:lnTo>
                    <a:close/>
                  </a:path>
                  <a:path w="2439670" h="2995929">
                    <a:moveTo>
                      <a:pt x="1362252" y="1389062"/>
                    </a:moveTo>
                    <a:lnTo>
                      <a:pt x="1350378" y="1333957"/>
                    </a:lnTo>
                    <a:lnTo>
                      <a:pt x="1318056" y="1288275"/>
                    </a:lnTo>
                    <a:lnTo>
                      <a:pt x="1270736" y="1257579"/>
                    </a:lnTo>
                    <a:lnTo>
                      <a:pt x="1214005" y="1247317"/>
                    </a:lnTo>
                    <a:lnTo>
                      <a:pt x="1186611" y="1249883"/>
                    </a:lnTo>
                    <a:lnTo>
                      <a:pt x="1137640" y="1270368"/>
                    </a:lnTo>
                    <a:lnTo>
                      <a:pt x="1098219" y="1309941"/>
                    </a:lnTo>
                    <a:lnTo>
                      <a:pt x="1077620" y="1360335"/>
                    </a:lnTo>
                    <a:lnTo>
                      <a:pt x="1075029" y="1389062"/>
                    </a:lnTo>
                    <a:lnTo>
                      <a:pt x="1075029" y="1395361"/>
                    </a:lnTo>
                    <a:lnTo>
                      <a:pt x="1085354" y="1448130"/>
                    </a:lnTo>
                    <a:lnTo>
                      <a:pt x="1116164" y="1493012"/>
                    </a:lnTo>
                    <a:lnTo>
                      <a:pt x="1161097" y="1523733"/>
                    </a:lnTo>
                    <a:lnTo>
                      <a:pt x="1213916" y="1533956"/>
                    </a:lnTo>
                    <a:lnTo>
                      <a:pt x="1243152" y="1531404"/>
                    </a:lnTo>
                    <a:lnTo>
                      <a:pt x="1295831" y="1510931"/>
                    </a:lnTo>
                    <a:lnTo>
                      <a:pt x="1336421" y="1471561"/>
                    </a:lnTo>
                    <a:lnTo>
                      <a:pt x="1359179" y="1422730"/>
                    </a:lnTo>
                    <a:lnTo>
                      <a:pt x="1362252" y="1395361"/>
                    </a:lnTo>
                    <a:lnTo>
                      <a:pt x="1362252" y="1389062"/>
                    </a:lnTo>
                    <a:close/>
                  </a:path>
                  <a:path w="2439670" h="2995929">
                    <a:moveTo>
                      <a:pt x="2291232" y="503072"/>
                    </a:moveTo>
                    <a:lnTo>
                      <a:pt x="2280602" y="442163"/>
                    </a:lnTo>
                    <a:lnTo>
                      <a:pt x="2248712" y="391464"/>
                    </a:lnTo>
                    <a:lnTo>
                      <a:pt x="2201849" y="356539"/>
                    </a:lnTo>
                    <a:lnTo>
                      <a:pt x="2146338" y="342874"/>
                    </a:lnTo>
                    <a:lnTo>
                      <a:pt x="335203" y="342874"/>
                    </a:lnTo>
                    <a:lnTo>
                      <a:pt x="264706" y="352437"/>
                    </a:lnTo>
                    <a:lnTo>
                      <a:pt x="198196" y="376174"/>
                    </a:lnTo>
                    <a:lnTo>
                      <a:pt x="137947" y="410489"/>
                    </a:lnTo>
                    <a:lnTo>
                      <a:pt x="86385" y="454240"/>
                    </a:lnTo>
                    <a:lnTo>
                      <a:pt x="48247" y="506450"/>
                    </a:lnTo>
                    <a:lnTo>
                      <a:pt x="19570" y="567309"/>
                    </a:lnTo>
                    <a:lnTo>
                      <a:pt x="2692" y="634479"/>
                    </a:lnTo>
                    <a:lnTo>
                      <a:pt x="0" y="705548"/>
                    </a:lnTo>
                    <a:lnTo>
                      <a:pt x="0" y="2850565"/>
                    </a:lnTo>
                    <a:lnTo>
                      <a:pt x="10490" y="2907385"/>
                    </a:lnTo>
                    <a:lnTo>
                      <a:pt x="42608" y="2954159"/>
                    </a:lnTo>
                    <a:lnTo>
                      <a:pt x="83870" y="2985478"/>
                    </a:lnTo>
                    <a:lnTo>
                      <a:pt x="134353" y="2995917"/>
                    </a:lnTo>
                    <a:lnTo>
                      <a:pt x="164630" y="2993313"/>
                    </a:lnTo>
                    <a:lnTo>
                      <a:pt x="218998" y="2972435"/>
                    </a:lnTo>
                    <a:lnTo>
                      <a:pt x="260565" y="2932036"/>
                    </a:lnTo>
                    <a:lnTo>
                      <a:pt x="284022" y="2880220"/>
                    </a:lnTo>
                    <a:lnTo>
                      <a:pt x="287223" y="775119"/>
                    </a:lnTo>
                    <a:lnTo>
                      <a:pt x="289585" y="751357"/>
                    </a:lnTo>
                    <a:lnTo>
                      <a:pt x="308419" y="710996"/>
                    </a:lnTo>
                    <a:lnTo>
                      <a:pt x="347002" y="674839"/>
                    </a:lnTo>
                    <a:lnTo>
                      <a:pt x="395300" y="656666"/>
                    </a:lnTo>
                    <a:lnTo>
                      <a:pt x="423405" y="654710"/>
                    </a:lnTo>
                    <a:lnTo>
                      <a:pt x="2146338" y="654710"/>
                    </a:lnTo>
                    <a:lnTo>
                      <a:pt x="2175167" y="651357"/>
                    </a:lnTo>
                    <a:lnTo>
                      <a:pt x="2226360" y="626999"/>
                    </a:lnTo>
                    <a:lnTo>
                      <a:pt x="2267318" y="585000"/>
                    </a:lnTo>
                    <a:lnTo>
                      <a:pt x="2288578" y="532269"/>
                    </a:lnTo>
                    <a:lnTo>
                      <a:pt x="2291232" y="503072"/>
                    </a:lnTo>
                    <a:close/>
                  </a:path>
                  <a:path w="2439670" h="2995929">
                    <a:moveTo>
                      <a:pt x="2412669" y="1389062"/>
                    </a:moveTo>
                    <a:lnTo>
                      <a:pt x="2405138" y="1333957"/>
                    </a:lnTo>
                    <a:lnTo>
                      <a:pt x="2377148" y="1288275"/>
                    </a:lnTo>
                    <a:lnTo>
                      <a:pt x="2334171" y="1257579"/>
                    </a:lnTo>
                    <a:lnTo>
                      <a:pt x="2281783" y="1247317"/>
                    </a:lnTo>
                    <a:lnTo>
                      <a:pt x="2254948" y="1249883"/>
                    </a:lnTo>
                    <a:lnTo>
                      <a:pt x="2208479" y="1270368"/>
                    </a:lnTo>
                    <a:lnTo>
                      <a:pt x="2170188" y="1309941"/>
                    </a:lnTo>
                    <a:lnTo>
                      <a:pt x="2152078" y="1360335"/>
                    </a:lnTo>
                    <a:lnTo>
                      <a:pt x="2150059" y="1389062"/>
                    </a:lnTo>
                    <a:lnTo>
                      <a:pt x="2150059" y="1395361"/>
                    </a:lnTo>
                    <a:lnTo>
                      <a:pt x="2158581" y="1448130"/>
                    </a:lnTo>
                    <a:lnTo>
                      <a:pt x="2187575" y="1493012"/>
                    </a:lnTo>
                    <a:lnTo>
                      <a:pt x="2231593" y="1523733"/>
                    </a:lnTo>
                    <a:lnTo>
                      <a:pt x="2283498" y="1533956"/>
                    </a:lnTo>
                    <a:lnTo>
                      <a:pt x="2311247" y="1531404"/>
                    </a:lnTo>
                    <a:lnTo>
                      <a:pt x="2357323" y="1510931"/>
                    </a:lnTo>
                    <a:lnTo>
                      <a:pt x="2394928" y="1471561"/>
                    </a:lnTo>
                    <a:lnTo>
                      <a:pt x="2411095" y="1422730"/>
                    </a:lnTo>
                    <a:lnTo>
                      <a:pt x="2412669" y="1395361"/>
                    </a:lnTo>
                    <a:lnTo>
                      <a:pt x="2412669" y="1389062"/>
                    </a:lnTo>
                    <a:close/>
                  </a:path>
                  <a:path w="2439670" h="2995929">
                    <a:moveTo>
                      <a:pt x="2439276" y="1048258"/>
                    </a:moveTo>
                    <a:lnTo>
                      <a:pt x="2429027" y="999083"/>
                    </a:lnTo>
                    <a:lnTo>
                      <a:pt x="2398318" y="958545"/>
                    </a:lnTo>
                    <a:lnTo>
                      <a:pt x="2352649" y="932192"/>
                    </a:lnTo>
                    <a:lnTo>
                      <a:pt x="2297531" y="925525"/>
                    </a:lnTo>
                    <a:lnTo>
                      <a:pt x="2180983" y="925525"/>
                    </a:lnTo>
                    <a:lnTo>
                      <a:pt x="2161400" y="922909"/>
                    </a:lnTo>
                    <a:lnTo>
                      <a:pt x="2127529" y="905383"/>
                    </a:lnTo>
                    <a:lnTo>
                      <a:pt x="2091601" y="860907"/>
                    </a:lnTo>
                    <a:lnTo>
                      <a:pt x="2080209" y="821969"/>
                    </a:lnTo>
                    <a:lnTo>
                      <a:pt x="2074862" y="796251"/>
                    </a:lnTo>
                    <a:lnTo>
                      <a:pt x="2065210" y="772795"/>
                    </a:lnTo>
                    <a:lnTo>
                      <a:pt x="2032952" y="733844"/>
                    </a:lnTo>
                    <a:lnTo>
                      <a:pt x="1988845" y="708660"/>
                    </a:lnTo>
                    <a:lnTo>
                      <a:pt x="1938451" y="700011"/>
                    </a:lnTo>
                    <a:lnTo>
                      <a:pt x="1912543" y="702017"/>
                    </a:lnTo>
                    <a:lnTo>
                      <a:pt x="1866099" y="718299"/>
                    </a:lnTo>
                    <a:lnTo>
                      <a:pt x="1827898" y="750493"/>
                    </a:lnTo>
                    <a:lnTo>
                      <a:pt x="1805076" y="793673"/>
                    </a:lnTo>
                    <a:lnTo>
                      <a:pt x="1796618" y="839673"/>
                    </a:lnTo>
                    <a:lnTo>
                      <a:pt x="1790014" y="859536"/>
                    </a:lnTo>
                    <a:lnTo>
                      <a:pt x="1766785" y="892810"/>
                    </a:lnTo>
                    <a:lnTo>
                      <a:pt x="1734896" y="915860"/>
                    </a:lnTo>
                    <a:lnTo>
                      <a:pt x="1699069" y="925525"/>
                    </a:lnTo>
                    <a:lnTo>
                      <a:pt x="1579384" y="925525"/>
                    </a:lnTo>
                    <a:lnTo>
                      <a:pt x="1550720" y="927036"/>
                    </a:lnTo>
                    <a:lnTo>
                      <a:pt x="1501114" y="942581"/>
                    </a:lnTo>
                    <a:lnTo>
                      <a:pt x="1462925" y="979170"/>
                    </a:lnTo>
                    <a:lnTo>
                      <a:pt x="1443240" y="1025118"/>
                    </a:lnTo>
                    <a:lnTo>
                      <a:pt x="1440789" y="1051902"/>
                    </a:lnTo>
                    <a:lnTo>
                      <a:pt x="1443240" y="1080223"/>
                    </a:lnTo>
                    <a:lnTo>
                      <a:pt x="1462925" y="1128725"/>
                    </a:lnTo>
                    <a:lnTo>
                      <a:pt x="1501114" y="1167422"/>
                    </a:lnTo>
                    <a:lnTo>
                      <a:pt x="1550720" y="1186002"/>
                    </a:lnTo>
                    <a:lnTo>
                      <a:pt x="1579384" y="1188135"/>
                    </a:lnTo>
                    <a:lnTo>
                      <a:pt x="1695919" y="1188135"/>
                    </a:lnTo>
                    <a:lnTo>
                      <a:pt x="1716227" y="1190193"/>
                    </a:lnTo>
                    <a:lnTo>
                      <a:pt x="1764499" y="1219301"/>
                    </a:lnTo>
                    <a:lnTo>
                      <a:pt x="1784223" y="1253413"/>
                    </a:lnTo>
                    <a:lnTo>
                      <a:pt x="1788985" y="1294574"/>
                    </a:lnTo>
                    <a:lnTo>
                      <a:pt x="1788985" y="1452054"/>
                    </a:lnTo>
                    <a:lnTo>
                      <a:pt x="1792287" y="1479435"/>
                    </a:lnTo>
                    <a:lnTo>
                      <a:pt x="1815706" y="1528254"/>
                    </a:lnTo>
                    <a:lnTo>
                      <a:pt x="1855177" y="1567624"/>
                    </a:lnTo>
                    <a:lnTo>
                      <a:pt x="1906663" y="1588096"/>
                    </a:lnTo>
                    <a:lnTo>
                      <a:pt x="1935734" y="1590649"/>
                    </a:lnTo>
                    <a:lnTo>
                      <a:pt x="1966290" y="1588096"/>
                    </a:lnTo>
                    <a:lnTo>
                      <a:pt x="2024710" y="1567624"/>
                    </a:lnTo>
                    <a:lnTo>
                      <a:pt x="2067928" y="1528254"/>
                    </a:lnTo>
                    <a:lnTo>
                      <a:pt x="2096427" y="1479435"/>
                    </a:lnTo>
                    <a:lnTo>
                      <a:pt x="2100821" y="1452054"/>
                    </a:lnTo>
                    <a:lnTo>
                      <a:pt x="2100821" y="1294574"/>
                    </a:lnTo>
                    <a:lnTo>
                      <a:pt x="2101075" y="1273225"/>
                    </a:lnTo>
                    <a:lnTo>
                      <a:pt x="2108936" y="1235354"/>
                    </a:lnTo>
                    <a:lnTo>
                      <a:pt x="2134654" y="1206017"/>
                    </a:lnTo>
                    <a:lnTo>
                      <a:pt x="2184133" y="1188135"/>
                    </a:lnTo>
                    <a:lnTo>
                      <a:pt x="2297531" y="1188135"/>
                    </a:lnTo>
                    <a:lnTo>
                      <a:pt x="2326271" y="1185773"/>
                    </a:lnTo>
                    <a:lnTo>
                      <a:pt x="2376665" y="1166152"/>
                    </a:lnTo>
                    <a:lnTo>
                      <a:pt x="2416225" y="1126883"/>
                    </a:lnTo>
                    <a:lnTo>
                      <a:pt x="2436711" y="1076921"/>
                    </a:lnTo>
                    <a:lnTo>
                      <a:pt x="2439276" y="1048258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3" name="object 7"/>
              <p:cNvSpPr>
                <a:spLocks noChangeArrowheads="1"/>
              </p:cNvSpPr>
              <p:nvPr userDrawn="1"/>
            </p:nvSpPr>
            <p:spPr bwMode="auto">
              <a:xfrm>
                <a:off x="11455400" y="3736975"/>
                <a:ext cx="947738" cy="2436813"/>
              </a:xfrm>
              <a:custGeom>
                <a:avLst/>
                <a:gdLst>
                  <a:gd name="T0" fmla="*/ 413225 w 948054"/>
                  <a:gd name="T1" fmla="*/ 11223 h 2436495"/>
                  <a:gd name="T2" fmla="*/ 324716 w 948054"/>
                  <a:gd name="T3" fmla="*/ 95209 h 2436495"/>
                  <a:gd name="T4" fmla="*/ 311215 w 948054"/>
                  <a:gd name="T5" fmla="*/ 362502 h 2436495"/>
                  <a:gd name="T6" fmla="*/ 294023 w 948054"/>
                  <a:gd name="T7" fmla="*/ 430568 h 2436495"/>
                  <a:gd name="T8" fmla="*/ 217799 w 948054"/>
                  <a:gd name="T9" fmla="*/ 481351 h 2436495"/>
                  <a:gd name="T10" fmla="*/ 156288 w 948054"/>
                  <a:gd name="T11" fmla="*/ 483189 h 2436495"/>
                  <a:gd name="T12" fmla="*/ 68680 w 948054"/>
                  <a:gd name="T13" fmla="*/ 510842 h 2436495"/>
                  <a:gd name="T14" fmla="*/ 2804 w 948054"/>
                  <a:gd name="T15" fmla="*/ 611639 h 2436495"/>
                  <a:gd name="T16" fmla="*/ 2804 w 948054"/>
                  <a:gd name="T17" fmla="*/ 675928 h 2436495"/>
                  <a:gd name="T18" fmla="*/ 68680 w 948054"/>
                  <a:gd name="T19" fmla="*/ 776645 h 2436495"/>
                  <a:gd name="T20" fmla="*/ 156288 w 948054"/>
                  <a:gd name="T21" fmla="*/ 803242 h 2436495"/>
                  <a:gd name="T22" fmla="*/ 217799 w 948054"/>
                  <a:gd name="T23" fmla="*/ 805393 h 2436495"/>
                  <a:gd name="T24" fmla="*/ 294023 w 948054"/>
                  <a:gd name="T25" fmla="*/ 858157 h 2436495"/>
                  <a:gd name="T26" fmla="*/ 311215 w 948054"/>
                  <a:gd name="T27" fmla="*/ 927856 h 2436495"/>
                  <a:gd name="T28" fmla="*/ 304074 w 948054"/>
                  <a:gd name="T29" fmla="*/ 1157861 h 2436495"/>
                  <a:gd name="T30" fmla="*/ 239898 w 948054"/>
                  <a:gd name="T31" fmla="*/ 1228039 h 2436495"/>
                  <a:gd name="T32" fmla="*/ 156288 w 948054"/>
                  <a:gd name="T33" fmla="*/ 1238171 h 2436495"/>
                  <a:gd name="T34" fmla="*/ 68680 w 948054"/>
                  <a:gd name="T35" fmla="*/ 1261734 h 2436495"/>
                  <a:gd name="T36" fmla="*/ 2804 w 948054"/>
                  <a:gd name="T37" fmla="*/ 1359734 h 2436495"/>
                  <a:gd name="T38" fmla="*/ 2804 w 948054"/>
                  <a:gd name="T39" fmla="*/ 1422928 h 2436495"/>
                  <a:gd name="T40" fmla="*/ 68680 w 948054"/>
                  <a:gd name="T41" fmla="*/ 1519070 h 2436495"/>
                  <a:gd name="T42" fmla="*/ 156288 w 948054"/>
                  <a:gd name="T43" fmla="*/ 1541806 h 2436495"/>
                  <a:gd name="T44" fmla="*/ 217799 w 948054"/>
                  <a:gd name="T45" fmla="*/ 1544482 h 2436495"/>
                  <a:gd name="T46" fmla="*/ 294023 w 948054"/>
                  <a:gd name="T47" fmla="*/ 1600613 h 2436495"/>
                  <a:gd name="T48" fmla="*/ 311215 w 948054"/>
                  <a:gd name="T49" fmla="*/ 1673153 h 2436495"/>
                  <a:gd name="T50" fmla="*/ 304074 w 948054"/>
                  <a:gd name="T51" fmla="*/ 2029925 h 2436495"/>
                  <a:gd name="T52" fmla="*/ 239898 w 948054"/>
                  <a:gd name="T53" fmla="*/ 2098915 h 2436495"/>
                  <a:gd name="T54" fmla="*/ 166277 w 948054"/>
                  <a:gd name="T55" fmla="*/ 2108040 h 2436495"/>
                  <a:gd name="T56" fmla="*/ 79581 w 948054"/>
                  <a:gd name="T57" fmla="*/ 2134010 h 2436495"/>
                  <a:gd name="T58" fmla="*/ 15998 w 948054"/>
                  <a:gd name="T59" fmla="*/ 2233658 h 2436495"/>
                  <a:gd name="T60" fmla="*/ 15998 w 948054"/>
                  <a:gd name="T61" fmla="*/ 2298509 h 2436495"/>
                  <a:gd name="T62" fmla="*/ 79581 w 948054"/>
                  <a:gd name="T63" fmla="*/ 2405467 h 2436495"/>
                  <a:gd name="T64" fmla="*/ 166277 w 948054"/>
                  <a:gd name="T65" fmla="*/ 2436292 h 2436495"/>
                  <a:gd name="T66" fmla="*/ 381180 w 948054"/>
                  <a:gd name="T67" fmla="*/ 2427407 h 2436495"/>
                  <a:gd name="T68" fmla="*/ 495083 w 948054"/>
                  <a:gd name="T69" fmla="*/ 2375209 h 2436495"/>
                  <a:gd name="T70" fmla="*/ 581788 w 948054"/>
                  <a:gd name="T71" fmla="*/ 2288016 h 2436495"/>
                  <a:gd name="T72" fmla="*/ 632161 w 948054"/>
                  <a:gd name="T73" fmla="*/ 2174440 h 2436495"/>
                  <a:gd name="T74" fmla="*/ 639467 w 948054"/>
                  <a:gd name="T75" fmla="*/ 1639887 h 2436495"/>
                  <a:gd name="T76" fmla="*/ 663937 w 948054"/>
                  <a:gd name="T77" fmla="*/ 1572559 h 2436495"/>
                  <a:gd name="T78" fmla="*/ 728312 w 948054"/>
                  <a:gd name="T79" fmla="*/ 1541806 h 2436495"/>
                  <a:gd name="T80" fmla="*/ 829829 w 948054"/>
                  <a:gd name="T81" fmla="*/ 1539183 h 2436495"/>
                  <a:gd name="T82" fmla="*/ 924409 w 948054"/>
                  <a:gd name="T83" fmla="*/ 1471028 h 2436495"/>
                  <a:gd name="T84" fmla="*/ 947803 w 948054"/>
                  <a:gd name="T85" fmla="*/ 1382575 h 2436495"/>
                  <a:gd name="T86" fmla="*/ 924409 w 948054"/>
                  <a:gd name="T87" fmla="*/ 1299069 h 2436495"/>
                  <a:gd name="T88" fmla="*/ 829829 w 948054"/>
                  <a:gd name="T89" fmla="*/ 1240361 h 2436495"/>
                  <a:gd name="T90" fmla="*/ 761557 w 948054"/>
                  <a:gd name="T91" fmla="*/ 1238171 h 2436495"/>
                  <a:gd name="T92" fmla="*/ 692899 w 948054"/>
                  <a:gd name="T93" fmla="*/ 1215921 h 2436495"/>
                  <a:gd name="T94" fmla="*/ 641414 w 948054"/>
                  <a:gd name="T95" fmla="*/ 1133680 h 2436495"/>
                  <a:gd name="T96" fmla="*/ 639467 w 948054"/>
                  <a:gd name="T97" fmla="*/ 894601 h 2436495"/>
                  <a:gd name="T98" fmla="*/ 692795 w 948054"/>
                  <a:gd name="T99" fmla="*/ 809881 h 2436495"/>
                  <a:gd name="T100" fmla="*/ 798143 w 948054"/>
                  <a:gd name="T101" fmla="*/ 803242 h 2436495"/>
                  <a:gd name="T102" fmla="*/ 883871 w 948054"/>
                  <a:gd name="T103" fmla="*/ 775381 h 2436495"/>
                  <a:gd name="T104" fmla="*/ 945201 w 948054"/>
                  <a:gd name="T105" fmla="*/ 671166 h 2436495"/>
                  <a:gd name="T106" fmla="*/ 945201 w 948054"/>
                  <a:gd name="T107" fmla="*/ 606801 h 2436495"/>
                  <a:gd name="T108" fmla="*/ 883871 w 948054"/>
                  <a:gd name="T109" fmla="*/ 509163 h 2436495"/>
                  <a:gd name="T110" fmla="*/ 798143 w 948054"/>
                  <a:gd name="T111" fmla="*/ 483189 h 2436495"/>
                  <a:gd name="T112" fmla="*/ 736319 w 948054"/>
                  <a:gd name="T113" fmla="*/ 481351 h 2436495"/>
                  <a:gd name="T114" fmla="*/ 658228 w 948054"/>
                  <a:gd name="T115" fmla="*/ 430568 h 2436495"/>
                  <a:gd name="T116" fmla="*/ 639467 w 948054"/>
                  <a:gd name="T117" fmla="*/ 362502 h 2436495"/>
                  <a:gd name="T118" fmla="*/ 636219 w 948054"/>
                  <a:gd name="T119" fmla="*/ 124412 h 2436495"/>
                  <a:gd name="T120" fmla="*/ 566059 w 948054"/>
                  <a:gd name="T121" fmla="*/ 25254 h 2436495"/>
                  <a:gd name="T122" fmla="*/ 476634 w 948054"/>
                  <a:gd name="T123" fmla="*/ 0 h 2436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48054" h="2436495">
                    <a:moveTo>
                      <a:pt x="476634" y="0"/>
                    </a:moveTo>
                    <a:lnTo>
                      <a:pt x="413225" y="11223"/>
                    </a:lnTo>
                    <a:lnTo>
                      <a:pt x="360669" y="44899"/>
                    </a:lnTo>
                    <a:lnTo>
                      <a:pt x="324716" y="95209"/>
                    </a:lnTo>
                    <a:lnTo>
                      <a:pt x="311215" y="156309"/>
                    </a:lnTo>
                    <a:lnTo>
                      <a:pt x="311215" y="362502"/>
                    </a:lnTo>
                    <a:lnTo>
                      <a:pt x="309555" y="387630"/>
                    </a:lnTo>
                    <a:lnTo>
                      <a:pt x="294023" y="430568"/>
                    </a:lnTo>
                    <a:lnTo>
                      <a:pt x="259931" y="465020"/>
                    </a:lnTo>
                    <a:lnTo>
                      <a:pt x="217799" y="481351"/>
                    </a:lnTo>
                    <a:lnTo>
                      <a:pt x="192884" y="483189"/>
                    </a:lnTo>
                    <a:lnTo>
                      <a:pt x="156288" y="483189"/>
                    </a:lnTo>
                    <a:lnTo>
                      <a:pt x="124373" y="486440"/>
                    </a:lnTo>
                    <a:lnTo>
                      <a:pt x="68680" y="510842"/>
                    </a:lnTo>
                    <a:lnTo>
                      <a:pt x="25245" y="554948"/>
                    </a:lnTo>
                    <a:lnTo>
                      <a:pt x="2804" y="611639"/>
                    </a:lnTo>
                    <a:lnTo>
                      <a:pt x="0" y="643760"/>
                    </a:lnTo>
                    <a:lnTo>
                      <a:pt x="2804" y="675928"/>
                    </a:lnTo>
                    <a:lnTo>
                      <a:pt x="25245" y="732712"/>
                    </a:lnTo>
                    <a:lnTo>
                      <a:pt x="68680" y="776645"/>
                    </a:lnTo>
                    <a:lnTo>
                      <a:pt x="124373" y="800188"/>
                    </a:lnTo>
                    <a:lnTo>
                      <a:pt x="156288" y="803242"/>
                    </a:lnTo>
                    <a:lnTo>
                      <a:pt x="192884" y="803242"/>
                    </a:lnTo>
                    <a:lnTo>
                      <a:pt x="217799" y="805393"/>
                    </a:lnTo>
                    <a:lnTo>
                      <a:pt x="259931" y="823085"/>
                    </a:lnTo>
                    <a:lnTo>
                      <a:pt x="294023" y="858157"/>
                    </a:lnTo>
                    <a:lnTo>
                      <a:pt x="309555" y="902445"/>
                    </a:lnTo>
                    <a:lnTo>
                      <a:pt x="311215" y="927856"/>
                    </a:lnTo>
                    <a:lnTo>
                      <a:pt x="311215" y="1107788"/>
                    </a:lnTo>
                    <a:lnTo>
                      <a:pt x="304074" y="1157861"/>
                    </a:lnTo>
                    <a:lnTo>
                      <a:pt x="278651" y="1199586"/>
                    </a:lnTo>
                    <a:lnTo>
                      <a:pt x="239898" y="1228039"/>
                    </a:lnTo>
                    <a:lnTo>
                      <a:pt x="192884" y="1238171"/>
                    </a:lnTo>
                    <a:lnTo>
                      <a:pt x="156288" y="1238171"/>
                    </a:lnTo>
                    <a:lnTo>
                      <a:pt x="124373" y="1240664"/>
                    </a:lnTo>
                    <a:lnTo>
                      <a:pt x="68680" y="1261734"/>
                    </a:lnTo>
                    <a:lnTo>
                      <a:pt x="25245" y="1304709"/>
                    </a:lnTo>
                    <a:lnTo>
                      <a:pt x="2804" y="1359734"/>
                    </a:lnTo>
                    <a:lnTo>
                      <a:pt x="0" y="1391475"/>
                    </a:lnTo>
                    <a:lnTo>
                      <a:pt x="2804" y="1422928"/>
                    </a:lnTo>
                    <a:lnTo>
                      <a:pt x="25245" y="1476566"/>
                    </a:lnTo>
                    <a:lnTo>
                      <a:pt x="68680" y="1519070"/>
                    </a:lnTo>
                    <a:lnTo>
                      <a:pt x="124373" y="1539467"/>
                    </a:lnTo>
                    <a:lnTo>
                      <a:pt x="156288" y="1541806"/>
                    </a:lnTo>
                    <a:lnTo>
                      <a:pt x="192884" y="1541806"/>
                    </a:lnTo>
                    <a:lnTo>
                      <a:pt x="217799" y="1544482"/>
                    </a:lnTo>
                    <a:lnTo>
                      <a:pt x="259931" y="1564485"/>
                    </a:lnTo>
                    <a:lnTo>
                      <a:pt x="294023" y="1600613"/>
                    </a:lnTo>
                    <a:lnTo>
                      <a:pt x="309555" y="1647216"/>
                    </a:lnTo>
                    <a:lnTo>
                      <a:pt x="311215" y="1673153"/>
                    </a:lnTo>
                    <a:lnTo>
                      <a:pt x="311215" y="1983363"/>
                    </a:lnTo>
                    <a:lnTo>
                      <a:pt x="304074" y="2029925"/>
                    </a:lnTo>
                    <a:lnTo>
                      <a:pt x="278651" y="2070659"/>
                    </a:lnTo>
                    <a:lnTo>
                      <a:pt x="239898" y="2098915"/>
                    </a:lnTo>
                    <a:lnTo>
                      <a:pt x="192884" y="2108040"/>
                    </a:lnTo>
                    <a:lnTo>
                      <a:pt x="166277" y="2108040"/>
                    </a:lnTo>
                    <a:lnTo>
                      <a:pt x="134452" y="2110978"/>
                    </a:lnTo>
                    <a:lnTo>
                      <a:pt x="79581" y="2134010"/>
                    </a:lnTo>
                    <a:lnTo>
                      <a:pt x="37611" y="2177657"/>
                    </a:lnTo>
                    <a:lnTo>
                      <a:pt x="15998" y="2233658"/>
                    </a:lnTo>
                    <a:lnTo>
                      <a:pt x="13298" y="2265627"/>
                    </a:lnTo>
                    <a:lnTo>
                      <a:pt x="15998" y="2298509"/>
                    </a:lnTo>
                    <a:lnTo>
                      <a:pt x="37611" y="2358836"/>
                    </a:lnTo>
                    <a:lnTo>
                      <a:pt x="79581" y="2405467"/>
                    </a:lnTo>
                    <a:lnTo>
                      <a:pt x="134452" y="2432526"/>
                    </a:lnTo>
                    <a:lnTo>
                      <a:pt x="166277" y="2436292"/>
                    </a:lnTo>
                    <a:lnTo>
                      <a:pt x="319257" y="2436292"/>
                    </a:lnTo>
                    <a:lnTo>
                      <a:pt x="381180" y="2427407"/>
                    </a:lnTo>
                    <a:lnTo>
                      <a:pt x="440646" y="2406052"/>
                    </a:lnTo>
                    <a:lnTo>
                      <a:pt x="495083" y="2375209"/>
                    </a:lnTo>
                    <a:lnTo>
                      <a:pt x="542067" y="2335216"/>
                    </a:lnTo>
                    <a:lnTo>
                      <a:pt x="581788" y="2288016"/>
                    </a:lnTo>
                    <a:lnTo>
                      <a:pt x="612400" y="2234109"/>
                    </a:lnTo>
                    <a:lnTo>
                      <a:pt x="632161" y="2174440"/>
                    </a:lnTo>
                    <a:lnTo>
                      <a:pt x="639467" y="2109736"/>
                    </a:lnTo>
                    <a:lnTo>
                      <a:pt x="639467" y="1639887"/>
                    </a:lnTo>
                    <a:lnTo>
                      <a:pt x="640792" y="1621739"/>
                    </a:lnTo>
                    <a:lnTo>
                      <a:pt x="663937" y="1572559"/>
                    </a:lnTo>
                    <a:lnTo>
                      <a:pt x="709522" y="1543967"/>
                    </a:lnTo>
                    <a:lnTo>
                      <a:pt x="728312" y="1541806"/>
                    </a:lnTo>
                    <a:lnTo>
                      <a:pt x="798143" y="1541806"/>
                    </a:lnTo>
                    <a:lnTo>
                      <a:pt x="829829" y="1539183"/>
                    </a:lnTo>
                    <a:lnTo>
                      <a:pt x="883871" y="1516786"/>
                    </a:lnTo>
                    <a:lnTo>
                      <a:pt x="924409" y="1471028"/>
                    </a:lnTo>
                    <a:lnTo>
                      <a:pt x="945201" y="1414514"/>
                    </a:lnTo>
                    <a:lnTo>
                      <a:pt x="947803" y="1382575"/>
                    </a:lnTo>
                    <a:lnTo>
                      <a:pt x="945201" y="1351300"/>
                    </a:lnTo>
                    <a:lnTo>
                      <a:pt x="924409" y="1299069"/>
                    </a:lnTo>
                    <a:lnTo>
                      <a:pt x="883871" y="1259348"/>
                    </a:lnTo>
                    <a:lnTo>
                      <a:pt x="829829" y="1240361"/>
                    </a:lnTo>
                    <a:lnTo>
                      <a:pt x="798143" y="1238171"/>
                    </a:lnTo>
                    <a:lnTo>
                      <a:pt x="761557" y="1238171"/>
                    </a:lnTo>
                    <a:lnTo>
                      <a:pt x="736319" y="1235578"/>
                    </a:lnTo>
                    <a:lnTo>
                      <a:pt x="692899" y="1215921"/>
                    </a:lnTo>
                    <a:lnTo>
                      <a:pt x="658228" y="1179955"/>
                    </a:lnTo>
                    <a:lnTo>
                      <a:pt x="641414" y="1133680"/>
                    </a:lnTo>
                    <a:lnTo>
                      <a:pt x="639467" y="1107788"/>
                    </a:lnTo>
                    <a:lnTo>
                      <a:pt x="639467" y="894601"/>
                    </a:lnTo>
                    <a:lnTo>
                      <a:pt x="652618" y="845152"/>
                    </a:lnTo>
                    <a:lnTo>
                      <a:pt x="692795" y="809881"/>
                    </a:lnTo>
                    <a:lnTo>
                      <a:pt x="728312" y="803242"/>
                    </a:lnTo>
                    <a:lnTo>
                      <a:pt x="798143" y="803242"/>
                    </a:lnTo>
                    <a:lnTo>
                      <a:pt x="829829" y="800092"/>
                    </a:lnTo>
                    <a:lnTo>
                      <a:pt x="883871" y="775381"/>
                    </a:lnTo>
                    <a:lnTo>
                      <a:pt x="924409" y="728839"/>
                    </a:lnTo>
                    <a:lnTo>
                      <a:pt x="945201" y="671166"/>
                    </a:lnTo>
                    <a:lnTo>
                      <a:pt x="947803" y="638964"/>
                    </a:lnTo>
                    <a:lnTo>
                      <a:pt x="945201" y="606801"/>
                    </a:lnTo>
                    <a:lnTo>
                      <a:pt x="924409" y="550660"/>
                    </a:lnTo>
                    <a:lnTo>
                      <a:pt x="883871" y="509163"/>
                    </a:lnTo>
                    <a:lnTo>
                      <a:pt x="829829" y="486267"/>
                    </a:lnTo>
                    <a:lnTo>
                      <a:pt x="798143" y="483189"/>
                    </a:lnTo>
                    <a:lnTo>
                      <a:pt x="761557" y="483189"/>
                    </a:lnTo>
                    <a:lnTo>
                      <a:pt x="736319" y="481351"/>
                    </a:lnTo>
                    <a:lnTo>
                      <a:pt x="692899" y="465020"/>
                    </a:lnTo>
                    <a:lnTo>
                      <a:pt x="658228" y="430568"/>
                    </a:lnTo>
                    <a:lnTo>
                      <a:pt x="641414" y="387630"/>
                    </a:lnTo>
                    <a:lnTo>
                      <a:pt x="639467" y="362502"/>
                    </a:lnTo>
                    <a:lnTo>
                      <a:pt x="639467" y="156309"/>
                    </a:lnTo>
                    <a:lnTo>
                      <a:pt x="636219" y="124412"/>
                    </a:lnTo>
                    <a:lnTo>
                      <a:pt x="611465" y="68703"/>
                    </a:lnTo>
                    <a:lnTo>
                      <a:pt x="566059" y="25254"/>
                    </a:lnTo>
                    <a:lnTo>
                      <a:pt x="508792" y="2805"/>
                    </a:lnTo>
                    <a:lnTo>
                      <a:pt x="476634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4" name="object 8"/>
              <p:cNvSpPr>
                <a:spLocks noChangeArrowheads="1"/>
              </p:cNvSpPr>
              <p:nvPr userDrawn="1"/>
            </p:nvSpPr>
            <p:spPr bwMode="auto">
              <a:xfrm>
                <a:off x="12174538" y="3443288"/>
                <a:ext cx="2033587" cy="2806700"/>
              </a:xfrm>
              <a:custGeom>
                <a:avLst/>
                <a:gdLst>
                  <a:gd name="T0" fmla="*/ 1609966 w 2033905"/>
                  <a:gd name="T1" fmla="*/ 2058797 h 2806700"/>
                  <a:gd name="T2" fmla="*/ 1609991 w 2033905"/>
                  <a:gd name="T3" fmla="*/ 2362441 h 2806700"/>
                  <a:gd name="T4" fmla="*/ 1578444 w 2033905"/>
                  <a:gd name="T5" fmla="*/ 2062302 h 2806700"/>
                  <a:gd name="T6" fmla="*/ 1485773 w 2033905"/>
                  <a:gd name="T7" fmla="*/ 2294763 h 2806700"/>
                  <a:gd name="T8" fmla="*/ 1732178 w 2033905"/>
                  <a:gd name="T9" fmla="*/ 2295194 h 2806700"/>
                  <a:gd name="T10" fmla="*/ 1939251 w 2033905"/>
                  <a:gd name="T11" fmla="*/ 1193800 h 2806700"/>
                  <a:gd name="T12" fmla="*/ 1766900 w 2033905"/>
                  <a:gd name="T13" fmla="*/ 1130300 h 2806700"/>
                  <a:gd name="T14" fmla="*/ 1730527 w 2033905"/>
                  <a:gd name="T15" fmla="*/ 952500 h 2806700"/>
                  <a:gd name="T16" fmla="*/ 1544942 w 2033905"/>
                  <a:gd name="T17" fmla="*/ 749300 h 2806700"/>
                  <a:gd name="T18" fmla="*/ 1437030 w 2033905"/>
                  <a:gd name="T19" fmla="*/ 1600200 h 2806700"/>
                  <a:gd name="T20" fmla="*/ 1204328 w 2033905"/>
                  <a:gd name="T21" fmla="*/ 1612900 h 2806700"/>
                  <a:gd name="T22" fmla="*/ 1193482 w 2033905"/>
                  <a:gd name="T23" fmla="*/ 1524000 h 2806700"/>
                  <a:gd name="T24" fmla="*/ 1420291 w 2033905"/>
                  <a:gd name="T25" fmla="*/ 1485900 h 2806700"/>
                  <a:gd name="T26" fmla="*/ 1439456 w 2033905"/>
                  <a:gd name="T27" fmla="*/ 736600 h 2806700"/>
                  <a:gd name="T28" fmla="*/ 1423530 w 2033905"/>
                  <a:gd name="T29" fmla="*/ 1181100 h 2806700"/>
                  <a:gd name="T30" fmla="*/ 1193139 w 2033905"/>
                  <a:gd name="T31" fmla="*/ 1130300 h 2806700"/>
                  <a:gd name="T32" fmla="*/ 1211541 w 2033905"/>
                  <a:gd name="T33" fmla="*/ 1054100 h 2806700"/>
                  <a:gd name="T34" fmla="*/ 1439329 w 2033905"/>
                  <a:gd name="T35" fmla="*/ 736600 h 2806700"/>
                  <a:gd name="T36" fmla="*/ 1194003 w 2033905"/>
                  <a:gd name="T37" fmla="*/ 685800 h 2806700"/>
                  <a:gd name="T38" fmla="*/ 1794687 w 2033905"/>
                  <a:gd name="T39" fmla="*/ 571500 h 2806700"/>
                  <a:gd name="T40" fmla="*/ 1914436 w 2033905"/>
                  <a:gd name="T41" fmla="*/ 457200 h 2806700"/>
                  <a:gd name="T42" fmla="*/ 1276794 w 2033905"/>
                  <a:gd name="T43" fmla="*/ 266700 h 2806700"/>
                  <a:gd name="T44" fmla="*/ 1194625 w 2033905"/>
                  <a:gd name="T45" fmla="*/ 177800 h 2806700"/>
                  <a:gd name="T46" fmla="*/ 1096949 w 2033905"/>
                  <a:gd name="T47" fmla="*/ 12700 h 2806700"/>
                  <a:gd name="T48" fmla="*/ 905916 w 2033905"/>
                  <a:gd name="T49" fmla="*/ 152400 h 2806700"/>
                  <a:gd name="T50" fmla="*/ 846226 w 2033905"/>
                  <a:gd name="T51" fmla="*/ 254000 h 2806700"/>
                  <a:gd name="T52" fmla="*/ 212852 w 2033905"/>
                  <a:gd name="T53" fmla="*/ 317500 h 2806700"/>
                  <a:gd name="T54" fmla="*/ 181660 w 2033905"/>
                  <a:gd name="T55" fmla="*/ 482600 h 2806700"/>
                  <a:gd name="T56" fmla="*/ 317601 w 2033905"/>
                  <a:gd name="T57" fmla="*/ 584200 h 2806700"/>
                  <a:gd name="T58" fmla="*/ 895604 w 2033905"/>
                  <a:gd name="T59" fmla="*/ 698500 h 2806700"/>
                  <a:gd name="T60" fmla="*/ 452272 w 2033905"/>
                  <a:gd name="T61" fmla="*/ 749300 h 2806700"/>
                  <a:gd name="T62" fmla="*/ 360832 w 2033905"/>
                  <a:gd name="T63" fmla="*/ 889000 h 2806700"/>
                  <a:gd name="T64" fmla="*/ 452272 w 2033905"/>
                  <a:gd name="T65" fmla="*/ 1028700 h 2806700"/>
                  <a:gd name="T66" fmla="*/ 905916 w 2033905"/>
                  <a:gd name="T67" fmla="*/ 1130300 h 2806700"/>
                  <a:gd name="T68" fmla="*/ 285584 w 2033905"/>
                  <a:gd name="T69" fmla="*/ 1193800 h 2806700"/>
                  <a:gd name="T70" fmla="*/ 191223 w 2033905"/>
                  <a:gd name="T71" fmla="*/ 1333500 h 2806700"/>
                  <a:gd name="T72" fmla="*/ 862914 w 2033905"/>
                  <a:gd name="T73" fmla="*/ 1485900 h 2806700"/>
                  <a:gd name="T74" fmla="*/ 905916 w 2033905"/>
                  <a:gd name="T75" fmla="*/ 1524000 h 2806700"/>
                  <a:gd name="T76" fmla="*/ 874191 w 2033905"/>
                  <a:gd name="T77" fmla="*/ 1612900 h 2806700"/>
                  <a:gd name="T78" fmla="*/ 360832 w 2033905"/>
                  <a:gd name="T79" fmla="*/ 1765300 h 2806700"/>
                  <a:gd name="T80" fmla="*/ 510489 w 2033905"/>
                  <a:gd name="T81" fmla="*/ 1905000 h 2806700"/>
                  <a:gd name="T82" fmla="*/ 890612 w 2033905"/>
                  <a:gd name="T83" fmla="*/ 2006600 h 2806700"/>
                  <a:gd name="T84" fmla="*/ 862076 w 2033905"/>
                  <a:gd name="T85" fmla="*/ 2451100 h 2806700"/>
                  <a:gd name="T86" fmla="*/ 654888 w 2033905"/>
                  <a:gd name="T87" fmla="*/ 2463800 h 2806700"/>
                  <a:gd name="T88" fmla="*/ 605624 w 2033905"/>
                  <a:gd name="T89" fmla="*/ 2425700 h 2806700"/>
                  <a:gd name="T90" fmla="*/ 548132 w 2033905"/>
                  <a:gd name="T91" fmla="*/ 2324100 h 2806700"/>
                  <a:gd name="T92" fmla="*/ 584923 w 2033905"/>
                  <a:gd name="T93" fmla="*/ 2133600 h 2806700"/>
                  <a:gd name="T94" fmla="*/ 367487 w 2033905"/>
                  <a:gd name="T95" fmla="*/ 2019300 h 2806700"/>
                  <a:gd name="T96" fmla="*/ 257606 w 2033905"/>
                  <a:gd name="T97" fmla="*/ 2209800 h 2806700"/>
                  <a:gd name="T98" fmla="*/ 100368 w 2033905"/>
                  <a:gd name="T99" fmla="*/ 2476500 h 2806700"/>
                  <a:gd name="T100" fmla="*/ 0 w 2033905"/>
                  <a:gd name="T101" fmla="*/ 2679700 h 2806700"/>
                  <a:gd name="T102" fmla="*/ 217805 w 2033905"/>
                  <a:gd name="T103" fmla="*/ 2794000 h 2806700"/>
                  <a:gd name="T104" fmla="*/ 351167 w 2033905"/>
                  <a:gd name="T105" fmla="*/ 2679700 h 2806700"/>
                  <a:gd name="T106" fmla="*/ 518896 w 2033905"/>
                  <a:gd name="T107" fmla="*/ 2730500 h 2806700"/>
                  <a:gd name="T108" fmla="*/ 1866519 w 2033905"/>
                  <a:gd name="T109" fmla="*/ 2794000 h 2806700"/>
                  <a:gd name="T110" fmla="*/ 1955787 w 2033905"/>
                  <a:gd name="T111" fmla="*/ 2667000 h 2806700"/>
                  <a:gd name="T112" fmla="*/ 1839709 w 2033905"/>
                  <a:gd name="T113" fmla="*/ 2514600 h 2806700"/>
                  <a:gd name="T114" fmla="*/ 1193139 w 2033905"/>
                  <a:gd name="T115" fmla="*/ 2362200 h 2806700"/>
                  <a:gd name="T116" fmla="*/ 1252270 w 2033905"/>
                  <a:gd name="T117" fmla="*/ 1930400 h 2806700"/>
                  <a:gd name="T118" fmla="*/ 1586318 w 2033905"/>
                  <a:gd name="T119" fmla="*/ 1879600 h 2806700"/>
                  <a:gd name="T120" fmla="*/ 1739912 w 2033905"/>
                  <a:gd name="T121" fmla="*/ 1663700 h 2806700"/>
                  <a:gd name="T122" fmla="*/ 1783549 w 2033905"/>
                  <a:gd name="T123" fmla="*/ 1524000 h 2806700"/>
                  <a:gd name="T124" fmla="*/ 1965147 w 2033905"/>
                  <a:gd name="T125" fmla="*/ 1460500 h 2806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3905" h="2806700">
                    <a:moveTo>
                      <a:pt x="1609966" y="2058797"/>
                    </a:moveTo>
                    <a:lnTo>
                      <a:pt x="1605572" y="2058797"/>
                    </a:lnTo>
                    <a:lnTo>
                      <a:pt x="1606638" y="2058936"/>
                    </a:lnTo>
                    <a:lnTo>
                      <a:pt x="1607756" y="2058962"/>
                    </a:lnTo>
                    <a:lnTo>
                      <a:pt x="1608899" y="2058936"/>
                    </a:lnTo>
                    <a:lnTo>
                      <a:pt x="1609966" y="2058797"/>
                    </a:lnTo>
                    <a:close/>
                  </a:path>
                  <a:path w="2033905" h="2806700">
                    <a:moveTo>
                      <a:pt x="1609991" y="2362441"/>
                    </a:moveTo>
                    <a:lnTo>
                      <a:pt x="1608937" y="2362301"/>
                    </a:lnTo>
                    <a:lnTo>
                      <a:pt x="1607807" y="2362289"/>
                    </a:lnTo>
                    <a:lnTo>
                      <a:pt x="1606677" y="2362301"/>
                    </a:lnTo>
                    <a:lnTo>
                      <a:pt x="1605597" y="2362441"/>
                    </a:lnTo>
                    <a:lnTo>
                      <a:pt x="1609991" y="2362441"/>
                    </a:lnTo>
                    <a:close/>
                  </a:path>
                  <a:path w="2033905" h="2806700">
                    <a:moveTo>
                      <a:pt x="1757438" y="2208123"/>
                    </a:moveTo>
                    <a:lnTo>
                      <a:pt x="1746211" y="2151672"/>
                    </a:lnTo>
                    <a:lnTo>
                      <a:pt x="1712544" y="2103526"/>
                    </a:lnTo>
                    <a:lnTo>
                      <a:pt x="1664474" y="2071039"/>
                    </a:lnTo>
                    <a:lnTo>
                      <a:pt x="1607756" y="2058962"/>
                    </a:lnTo>
                    <a:lnTo>
                      <a:pt x="1578444" y="2062302"/>
                    </a:lnTo>
                    <a:lnTo>
                      <a:pt x="1526895" y="2084666"/>
                    </a:lnTo>
                    <a:lnTo>
                      <a:pt x="1485773" y="2126069"/>
                    </a:lnTo>
                    <a:lnTo>
                      <a:pt x="1464157" y="2178037"/>
                    </a:lnTo>
                    <a:lnTo>
                      <a:pt x="1461465" y="2207031"/>
                    </a:lnTo>
                    <a:lnTo>
                      <a:pt x="1464157" y="2239048"/>
                    </a:lnTo>
                    <a:lnTo>
                      <a:pt x="1485773" y="2294763"/>
                    </a:lnTo>
                    <a:lnTo>
                      <a:pt x="1526908" y="2336647"/>
                    </a:lnTo>
                    <a:lnTo>
                      <a:pt x="1578483" y="2358974"/>
                    </a:lnTo>
                    <a:lnTo>
                      <a:pt x="1607807" y="2362289"/>
                    </a:lnTo>
                    <a:lnTo>
                      <a:pt x="1637220" y="2359025"/>
                    </a:lnTo>
                    <a:lnTo>
                      <a:pt x="1689608" y="2336901"/>
                    </a:lnTo>
                    <a:lnTo>
                      <a:pt x="1732178" y="2295194"/>
                    </a:lnTo>
                    <a:lnTo>
                      <a:pt x="1754632" y="2240013"/>
                    </a:lnTo>
                    <a:lnTo>
                      <a:pt x="1757438" y="2208123"/>
                    </a:lnTo>
                    <a:close/>
                  </a:path>
                  <a:path w="2033905" h="2806700">
                    <a:moveTo>
                      <a:pt x="2033638" y="1333500"/>
                    </a:moveTo>
                    <a:lnTo>
                      <a:pt x="2022411" y="1282700"/>
                    </a:lnTo>
                    <a:lnTo>
                      <a:pt x="1988743" y="1231900"/>
                    </a:lnTo>
                    <a:lnTo>
                      <a:pt x="1939251" y="1193800"/>
                    </a:lnTo>
                    <a:lnTo>
                      <a:pt x="1911083" y="1193800"/>
                    </a:lnTo>
                    <a:lnTo>
                      <a:pt x="1880641" y="1181100"/>
                    </a:lnTo>
                    <a:lnTo>
                      <a:pt x="1826272" y="1181100"/>
                    </a:lnTo>
                    <a:lnTo>
                      <a:pt x="1803488" y="1168400"/>
                    </a:lnTo>
                    <a:lnTo>
                      <a:pt x="1783549" y="1143000"/>
                    </a:lnTo>
                    <a:lnTo>
                      <a:pt x="1766900" y="1130300"/>
                    </a:lnTo>
                    <a:lnTo>
                      <a:pt x="1754098" y="1104900"/>
                    </a:lnTo>
                    <a:lnTo>
                      <a:pt x="1745869" y="1079500"/>
                    </a:lnTo>
                    <a:lnTo>
                      <a:pt x="1742960" y="1054100"/>
                    </a:lnTo>
                    <a:lnTo>
                      <a:pt x="1742960" y="1041400"/>
                    </a:lnTo>
                    <a:lnTo>
                      <a:pt x="1739912" y="990600"/>
                    </a:lnTo>
                    <a:lnTo>
                      <a:pt x="1730527" y="952500"/>
                    </a:lnTo>
                    <a:lnTo>
                      <a:pt x="1714411" y="901700"/>
                    </a:lnTo>
                    <a:lnTo>
                      <a:pt x="1691195" y="863600"/>
                    </a:lnTo>
                    <a:lnTo>
                      <a:pt x="1660486" y="825500"/>
                    </a:lnTo>
                    <a:lnTo>
                      <a:pt x="1624698" y="800100"/>
                    </a:lnTo>
                    <a:lnTo>
                      <a:pt x="1586318" y="774700"/>
                    </a:lnTo>
                    <a:lnTo>
                      <a:pt x="1544942" y="749300"/>
                    </a:lnTo>
                    <a:lnTo>
                      <a:pt x="1500174" y="736600"/>
                    </a:lnTo>
                    <a:lnTo>
                      <a:pt x="1439456" y="736600"/>
                    </a:lnTo>
                    <a:lnTo>
                      <a:pt x="1439456" y="1524000"/>
                    </a:lnTo>
                    <a:lnTo>
                      <a:pt x="1439456" y="1587500"/>
                    </a:lnTo>
                    <a:lnTo>
                      <a:pt x="1439062" y="1587500"/>
                    </a:lnTo>
                    <a:lnTo>
                      <a:pt x="1437030" y="1600200"/>
                    </a:lnTo>
                    <a:lnTo>
                      <a:pt x="1432191" y="1612900"/>
                    </a:lnTo>
                    <a:lnTo>
                      <a:pt x="1426070" y="1612900"/>
                    </a:lnTo>
                    <a:lnTo>
                      <a:pt x="1420291" y="1625600"/>
                    </a:lnTo>
                    <a:lnTo>
                      <a:pt x="1218653" y="1625600"/>
                    </a:lnTo>
                    <a:lnTo>
                      <a:pt x="1211541" y="1612900"/>
                    </a:lnTo>
                    <a:lnTo>
                      <a:pt x="1204328" y="1612900"/>
                    </a:lnTo>
                    <a:lnTo>
                      <a:pt x="1198372" y="1600200"/>
                    </a:lnTo>
                    <a:lnTo>
                      <a:pt x="1194993" y="1587500"/>
                    </a:lnTo>
                    <a:lnTo>
                      <a:pt x="1193482" y="1587500"/>
                    </a:lnTo>
                    <a:lnTo>
                      <a:pt x="1193139" y="1574800"/>
                    </a:lnTo>
                    <a:lnTo>
                      <a:pt x="1193139" y="1524000"/>
                    </a:lnTo>
                    <a:lnTo>
                      <a:pt x="1193482" y="1524000"/>
                    </a:lnTo>
                    <a:lnTo>
                      <a:pt x="1194993" y="1511300"/>
                    </a:lnTo>
                    <a:lnTo>
                      <a:pt x="1198372" y="1511300"/>
                    </a:lnTo>
                    <a:lnTo>
                      <a:pt x="1204328" y="1498600"/>
                    </a:lnTo>
                    <a:lnTo>
                      <a:pt x="1211541" y="1498600"/>
                    </a:lnTo>
                    <a:lnTo>
                      <a:pt x="1218653" y="1485900"/>
                    </a:lnTo>
                    <a:lnTo>
                      <a:pt x="1420291" y="1485900"/>
                    </a:lnTo>
                    <a:lnTo>
                      <a:pt x="1426070" y="1498600"/>
                    </a:lnTo>
                    <a:lnTo>
                      <a:pt x="1432191" y="1498600"/>
                    </a:lnTo>
                    <a:lnTo>
                      <a:pt x="1437030" y="1511300"/>
                    </a:lnTo>
                    <a:lnTo>
                      <a:pt x="1439062" y="1511300"/>
                    </a:lnTo>
                    <a:lnTo>
                      <a:pt x="1439456" y="1524000"/>
                    </a:lnTo>
                    <a:lnTo>
                      <a:pt x="1439456" y="736600"/>
                    </a:lnTo>
                    <a:lnTo>
                      <a:pt x="1439329" y="736600"/>
                    </a:lnTo>
                    <a:lnTo>
                      <a:pt x="1439329" y="1092200"/>
                    </a:lnTo>
                    <a:lnTo>
                      <a:pt x="1439329" y="1130300"/>
                    </a:lnTo>
                    <a:lnTo>
                      <a:pt x="1438338" y="1155700"/>
                    </a:lnTo>
                    <a:lnTo>
                      <a:pt x="1433842" y="1168400"/>
                    </a:lnTo>
                    <a:lnTo>
                      <a:pt x="1423530" y="1181100"/>
                    </a:lnTo>
                    <a:lnTo>
                      <a:pt x="1211541" y="1181100"/>
                    </a:lnTo>
                    <a:lnTo>
                      <a:pt x="1204328" y="1168400"/>
                    </a:lnTo>
                    <a:lnTo>
                      <a:pt x="1198372" y="1155700"/>
                    </a:lnTo>
                    <a:lnTo>
                      <a:pt x="1194993" y="1155700"/>
                    </a:lnTo>
                    <a:lnTo>
                      <a:pt x="1193482" y="1143000"/>
                    </a:lnTo>
                    <a:lnTo>
                      <a:pt x="1193139" y="1130300"/>
                    </a:lnTo>
                    <a:lnTo>
                      <a:pt x="1193139" y="1092200"/>
                    </a:lnTo>
                    <a:lnTo>
                      <a:pt x="1193482" y="1079500"/>
                    </a:lnTo>
                    <a:lnTo>
                      <a:pt x="1194993" y="1066800"/>
                    </a:lnTo>
                    <a:lnTo>
                      <a:pt x="1198372" y="1066800"/>
                    </a:lnTo>
                    <a:lnTo>
                      <a:pt x="1204328" y="1054100"/>
                    </a:lnTo>
                    <a:lnTo>
                      <a:pt x="1211541" y="1054100"/>
                    </a:lnTo>
                    <a:lnTo>
                      <a:pt x="1218653" y="1041400"/>
                    </a:lnTo>
                    <a:lnTo>
                      <a:pt x="1423530" y="1041400"/>
                    </a:lnTo>
                    <a:lnTo>
                      <a:pt x="1433842" y="1054100"/>
                    </a:lnTo>
                    <a:lnTo>
                      <a:pt x="1438338" y="1066800"/>
                    </a:lnTo>
                    <a:lnTo>
                      <a:pt x="1439329" y="1092200"/>
                    </a:lnTo>
                    <a:lnTo>
                      <a:pt x="1439329" y="736600"/>
                    </a:lnTo>
                    <a:lnTo>
                      <a:pt x="1236510" y="736600"/>
                    </a:lnTo>
                    <a:lnTo>
                      <a:pt x="1224305" y="723900"/>
                    </a:lnTo>
                    <a:lnTo>
                      <a:pt x="1212646" y="711200"/>
                    </a:lnTo>
                    <a:lnTo>
                      <a:pt x="1203045" y="698500"/>
                    </a:lnTo>
                    <a:lnTo>
                      <a:pt x="1197063" y="698500"/>
                    </a:lnTo>
                    <a:lnTo>
                      <a:pt x="1194003" y="685800"/>
                    </a:lnTo>
                    <a:lnTo>
                      <a:pt x="1193139" y="660400"/>
                    </a:lnTo>
                    <a:lnTo>
                      <a:pt x="1193139" y="647700"/>
                    </a:lnTo>
                    <a:lnTo>
                      <a:pt x="1203045" y="609600"/>
                    </a:lnTo>
                    <a:lnTo>
                      <a:pt x="1224305" y="584200"/>
                    </a:lnTo>
                    <a:lnTo>
                      <a:pt x="1764258" y="584200"/>
                    </a:lnTo>
                    <a:lnTo>
                      <a:pt x="1794687" y="571500"/>
                    </a:lnTo>
                    <a:lnTo>
                      <a:pt x="1822856" y="571500"/>
                    </a:lnTo>
                    <a:lnTo>
                      <a:pt x="1848751" y="546100"/>
                    </a:lnTo>
                    <a:lnTo>
                      <a:pt x="1872335" y="533400"/>
                    </a:lnTo>
                    <a:lnTo>
                      <a:pt x="1891982" y="508000"/>
                    </a:lnTo>
                    <a:lnTo>
                      <a:pt x="1906016" y="482600"/>
                    </a:lnTo>
                    <a:lnTo>
                      <a:pt x="1914436" y="457200"/>
                    </a:lnTo>
                    <a:lnTo>
                      <a:pt x="1917242" y="431800"/>
                    </a:lnTo>
                    <a:lnTo>
                      <a:pt x="1914436" y="393700"/>
                    </a:lnTo>
                    <a:lnTo>
                      <a:pt x="1891982" y="342900"/>
                    </a:lnTo>
                    <a:lnTo>
                      <a:pt x="1848751" y="292100"/>
                    </a:lnTo>
                    <a:lnTo>
                      <a:pt x="1794687" y="266700"/>
                    </a:lnTo>
                    <a:lnTo>
                      <a:pt x="1276794" y="266700"/>
                    </a:lnTo>
                    <a:lnTo>
                      <a:pt x="1257287" y="254000"/>
                    </a:lnTo>
                    <a:lnTo>
                      <a:pt x="1239469" y="254000"/>
                    </a:lnTo>
                    <a:lnTo>
                      <a:pt x="1222616" y="241300"/>
                    </a:lnTo>
                    <a:lnTo>
                      <a:pt x="1208659" y="215900"/>
                    </a:lnTo>
                    <a:lnTo>
                      <a:pt x="1199553" y="203200"/>
                    </a:lnTo>
                    <a:lnTo>
                      <a:pt x="1194625" y="177800"/>
                    </a:lnTo>
                    <a:lnTo>
                      <a:pt x="1193139" y="165100"/>
                    </a:lnTo>
                    <a:lnTo>
                      <a:pt x="1193139" y="152400"/>
                    </a:lnTo>
                    <a:lnTo>
                      <a:pt x="1189837" y="127000"/>
                    </a:lnTo>
                    <a:lnTo>
                      <a:pt x="1180426" y="88900"/>
                    </a:lnTo>
                    <a:lnTo>
                      <a:pt x="1146136" y="38100"/>
                    </a:lnTo>
                    <a:lnTo>
                      <a:pt x="1096949" y="12700"/>
                    </a:lnTo>
                    <a:lnTo>
                      <a:pt x="1068451" y="0"/>
                    </a:lnTo>
                    <a:lnTo>
                      <a:pt x="1008849" y="0"/>
                    </a:lnTo>
                    <a:lnTo>
                      <a:pt x="961732" y="25400"/>
                    </a:lnTo>
                    <a:lnTo>
                      <a:pt x="922743" y="63500"/>
                    </a:lnTo>
                    <a:lnTo>
                      <a:pt x="907237" y="127000"/>
                    </a:lnTo>
                    <a:lnTo>
                      <a:pt x="905916" y="152400"/>
                    </a:lnTo>
                    <a:lnTo>
                      <a:pt x="905916" y="165100"/>
                    </a:lnTo>
                    <a:lnTo>
                      <a:pt x="902411" y="177800"/>
                    </a:lnTo>
                    <a:lnTo>
                      <a:pt x="893102" y="203200"/>
                    </a:lnTo>
                    <a:lnTo>
                      <a:pt x="879856" y="215900"/>
                    </a:lnTo>
                    <a:lnTo>
                      <a:pt x="864501" y="241300"/>
                    </a:lnTo>
                    <a:lnTo>
                      <a:pt x="846226" y="254000"/>
                    </a:lnTo>
                    <a:lnTo>
                      <a:pt x="824255" y="254000"/>
                    </a:lnTo>
                    <a:lnTo>
                      <a:pt x="800404" y="266700"/>
                    </a:lnTo>
                    <a:lnTo>
                      <a:pt x="287350" y="266700"/>
                    </a:lnTo>
                    <a:lnTo>
                      <a:pt x="259816" y="279400"/>
                    </a:lnTo>
                    <a:lnTo>
                      <a:pt x="234975" y="292100"/>
                    </a:lnTo>
                    <a:lnTo>
                      <a:pt x="212852" y="317500"/>
                    </a:lnTo>
                    <a:lnTo>
                      <a:pt x="194640" y="330200"/>
                    </a:lnTo>
                    <a:lnTo>
                      <a:pt x="181660" y="368300"/>
                    </a:lnTo>
                    <a:lnTo>
                      <a:pt x="173875" y="393700"/>
                    </a:lnTo>
                    <a:lnTo>
                      <a:pt x="171284" y="419100"/>
                    </a:lnTo>
                    <a:lnTo>
                      <a:pt x="173875" y="457200"/>
                    </a:lnTo>
                    <a:lnTo>
                      <a:pt x="181660" y="482600"/>
                    </a:lnTo>
                    <a:lnTo>
                      <a:pt x="194640" y="508000"/>
                    </a:lnTo>
                    <a:lnTo>
                      <a:pt x="212852" y="533400"/>
                    </a:lnTo>
                    <a:lnTo>
                      <a:pt x="234975" y="546100"/>
                    </a:lnTo>
                    <a:lnTo>
                      <a:pt x="259816" y="571500"/>
                    </a:lnTo>
                    <a:lnTo>
                      <a:pt x="287350" y="571500"/>
                    </a:lnTo>
                    <a:lnTo>
                      <a:pt x="317601" y="584200"/>
                    </a:lnTo>
                    <a:lnTo>
                      <a:pt x="861187" y="584200"/>
                    </a:lnTo>
                    <a:lnTo>
                      <a:pt x="895604" y="622300"/>
                    </a:lnTo>
                    <a:lnTo>
                      <a:pt x="905916" y="647700"/>
                    </a:lnTo>
                    <a:lnTo>
                      <a:pt x="905916" y="660400"/>
                    </a:lnTo>
                    <a:lnTo>
                      <a:pt x="903033" y="685800"/>
                    </a:lnTo>
                    <a:lnTo>
                      <a:pt x="895604" y="698500"/>
                    </a:lnTo>
                    <a:lnTo>
                      <a:pt x="885469" y="698500"/>
                    </a:lnTo>
                    <a:lnTo>
                      <a:pt x="874483" y="711200"/>
                    </a:lnTo>
                    <a:lnTo>
                      <a:pt x="861187" y="723900"/>
                    </a:lnTo>
                    <a:lnTo>
                      <a:pt x="844194" y="736600"/>
                    </a:lnTo>
                    <a:lnTo>
                      <a:pt x="480136" y="736600"/>
                    </a:lnTo>
                    <a:lnTo>
                      <a:pt x="452272" y="749300"/>
                    </a:lnTo>
                    <a:lnTo>
                      <a:pt x="426910" y="762000"/>
                    </a:lnTo>
                    <a:lnTo>
                      <a:pt x="404063" y="787400"/>
                    </a:lnTo>
                    <a:lnTo>
                      <a:pt x="385140" y="800100"/>
                    </a:lnTo>
                    <a:lnTo>
                      <a:pt x="371640" y="825500"/>
                    </a:lnTo>
                    <a:lnTo>
                      <a:pt x="363537" y="863600"/>
                    </a:lnTo>
                    <a:lnTo>
                      <a:pt x="360832" y="889000"/>
                    </a:lnTo>
                    <a:lnTo>
                      <a:pt x="363537" y="914400"/>
                    </a:lnTo>
                    <a:lnTo>
                      <a:pt x="371640" y="952500"/>
                    </a:lnTo>
                    <a:lnTo>
                      <a:pt x="385140" y="977900"/>
                    </a:lnTo>
                    <a:lnTo>
                      <a:pt x="404063" y="990600"/>
                    </a:lnTo>
                    <a:lnTo>
                      <a:pt x="426910" y="1016000"/>
                    </a:lnTo>
                    <a:lnTo>
                      <a:pt x="452272" y="1028700"/>
                    </a:lnTo>
                    <a:lnTo>
                      <a:pt x="480136" y="1041400"/>
                    </a:lnTo>
                    <a:lnTo>
                      <a:pt x="863155" y="1041400"/>
                    </a:lnTo>
                    <a:lnTo>
                      <a:pt x="884453" y="1054100"/>
                    </a:lnTo>
                    <a:lnTo>
                      <a:pt x="899934" y="1066800"/>
                    </a:lnTo>
                    <a:lnTo>
                      <a:pt x="905916" y="1092200"/>
                    </a:lnTo>
                    <a:lnTo>
                      <a:pt x="905916" y="1130300"/>
                    </a:lnTo>
                    <a:lnTo>
                      <a:pt x="899934" y="1155700"/>
                    </a:lnTo>
                    <a:lnTo>
                      <a:pt x="884453" y="1168400"/>
                    </a:lnTo>
                    <a:lnTo>
                      <a:pt x="863155" y="1181100"/>
                    </a:lnTo>
                    <a:lnTo>
                      <a:pt x="344208" y="1181100"/>
                    </a:lnTo>
                    <a:lnTo>
                      <a:pt x="313753" y="1193800"/>
                    </a:lnTo>
                    <a:lnTo>
                      <a:pt x="285584" y="1193800"/>
                    </a:lnTo>
                    <a:lnTo>
                      <a:pt x="259715" y="1206500"/>
                    </a:lnTo>
                    <a:lnTo>
                      <a:pt x="236131" y="1231900"/>
                    </a:lnTo>
                    <a:lnTo>
                      <a:pt x="216484" y="1244600"/>
                    </a:lnTo>
                    <a:lnTo>
                      <a:pt x="202450" y="1270000"/>
                    </a:lnTo>
                    <a:lnTo>
                      <a:pt x="194030" y="1308100"/>
                    </a:lnTo>
                    <a:lnTo>
                      <a:pt x="191223" y="1333500"/>
                    </a:lnTo>
                    <a:lnTo>
                      <a:pt x="194030" y="1358900"/>
                    </a:lnTo>
                    <a:lnTo>
                      <a:pt x="202450" y="1397000"/>
                    </a:lnTo>
                    <a:lnTo>
                      <a:pt x="236131" y="1447800"/>
                    </a:lnTo>
                    <a:lnTo>
                      <a:pt x="285584" y="1473200"/>
                    </a:lnTo>
                    <a:lnTo>
                      <a:pt x="313753" y="1485900"/>
                    </a:lnTo>
                    <a:lnTo>
                      <a:pt x="862914" y="1485900"/>
                    </a:lnTo>
                    <a:lnTo>
                      <a:pt x="874191" y="1498600"/>
                    </a:lnTo>
                    <a:lnTo>
                      <a:pt x="882802" y="1498600"/>
                    </a:lnTo>
                    <a:lnTo>
                      <a:pt x="890130" y="1511300"/>
                    </a:lnTo>
                    <a:lnTo>
                      <a:pt x="897674" y="1511300"/>
                    </a:lnTo>
                    <a:lnTo>
                      <a:pt x="903554" y="1524000"/>
                    </a:lnTo>
                    <a:lnTo>
                      <a:pt x="905916" y="1524000"/>
                    </a:lnTo>
                    <a:lnTo>
                      <a:pt x="905916" y="1574800"/>
                    </a:lnTo>
                    <a:lnTo>
                      <a:pt x="903554" y="1587500"/>
                    </a:lnTo>
                    <a:lnTo>
                      <a:pt x="897674" y="1587500"/>
                    </a:lnTo>
                    <a:lnTo>
                      <a:pt x="890130" y="1600200"/>
                    </a:lnTo>
                    <a:lnTo>
                      <a:pt x="882802" y="1612900"/>
                    </a:lnTo>
                    <a:lnTo>
                      <a:pt x="874191" y="1612900"/>
                    </a:lnTo>
                    <a:lnTo>
                      <a:pt x="862914" y="1625600"/>
                    </a:lnTo>
                    <a:lnTo>
                      <a:pt x="480136" y="1625600"/>
                    </a:lnTo>
                    <a:lnTo>
                      <a:pt x="452272" y="1638300"/>
                    </a:lnTo>
                    <a:lnTo>
                      <a:pt x="404063" y="1663700"/>
                    </a:lnTo>
                    <a:lnTo>
                      <a:pt x="371640" y="1714500"/>
                    </a:lnTo>
                    <a:lnTo>
                      <a:pt x="360832" y="1765300"/>
                    </a:lnTo>
                    <a:lnTo>
                      <a:pt x="363537" y="1790700"/>
                    </a:lnTo>
                    <a:lnTo>
                      <a:pt x="385140" y="1841500"/>
                    </a:lnTo>
                    <a:lnTo>
                      <a:pt x="426910" y="1879600"/>
                    </a:lnTo>
                    <a:lnTo>
                      <a:pt x="452272" y="1892300"/>
                    </a:lnTo>
                    <a:lnTo>
                      <a:pt x="480136" y="1892300"/>
                    </a:lnTo>
                    <a:lnTo>
                      <a:pt x="510489" y="1905000"/>
                    </a:lnTo>
                    <a:lnTo>
                      <a:pt x="773595" y="1905000"/>
                    </a:lnTo>
                    <a:lnTo>
                      <a:pt x="803465" y="1917700"/>
                    </a:lnTo>
                    <a:lnTo>
                      <a:pt x="831049" y="1930400"/>
                    </a:lnTo>
                    <a:lnTo>
                      <a:pt x="854532" y="1955800"/>
                    </a:lnTo>
                    <a:lnTo>
                      <a:pt x="874242" y="1968500"/>
                    </a:lnTo>
                    <a:lnTo>
                      <a:pt x="890612" y="2006600"/>
                    </a:lnTo>
                    <a:lnTo>
                      <a:pt x="901788" y="2032000"/>
                    </a:lnTo>
                    <a:lnTo>
                      <a:pt x="905916" y="2057400"/>
                    </a:lnTo>
                    <a:lnTo>
                      <a:pt x="905916" y="2349500"/>
                    </a:lnTo>
                    <a:lnTo>
                      <a:pt x="900430" y="2387600"/>
                    </a:lnTo>
                    <a:lnTo>
                      <a:pt x="885202" y="2425700"/>
                    </a:lnTo>
                    <a:lnTo>
                      <a:pt x="862076" y="2451100"/>
                    </a:lnTo>
                    <a:lnTo>
                      <a:pt x="832916" y="2463800"/>
                    </a:lnTo>
                    <a:lnTo>
                      <a:pt x="797433" y="2489200"/>
                    </a:lnTo>
                    <a:lnTo>
                      <a:pt x="725881" y="2489200"/>
                    </a:lnTo>
                    <a:lnTo>
                      <a:pt x="691654" y="2476500"/>
                    </a:lnTo>
                    <a:lnTo>
                      <a:pt x="673684" y="2476500"/>
                    </a:lnTo>
                    <a:lnTo>
                      <a:pt x="654888" y="2463800"/>
                    </a:lnTo>
                    <a:lnTo>
                      <a:pt x="648131" y="2463800"/>
                    </a:lnTo>
                    <a:lnTo>
                      <a:pt x="641413" y="2451100"/>
                    </a:lnTo>
                    <a:lnTo>
                      <a:pt x="625944" y="2451100"/>
                    </a:lnTo>
                    <a:lnTo>
                      <a:pt x="620864" y="2438400"/>
                    </a:lnTo>
                    <a:lnTo>
                      <a:pt x="610730" y="2438400"/>
                    </a:lnTo>
                    <a:lnTo>
                      <a:pt x="605624" y="2425700"/>
                    </a:lnTo>
                    <a:lnTo>
                      <a:pt x="600583" y="2425700"/>
                    </a:lnTo>
                    <a:lnTo>
                      <a:pt x="583819" y="2400300"/>
                    </a:lnTo>
                    <a:lnTo>
                      <a:pt x="570141" y="2387600"/>
                    </a:lnTo>
                    <a:lnTo>
                      <a:pt x="559600" y="2362200"/>
                    </a:lnTo>
                    <a:lnTo>
                      <a:pt x="552208" y="2349500"/>
                    </a:lnTo>
                    <a:lnTo>
                      <a:pt x="548132" y="2324100"/>
                    </a:lnTo>
                    <a:lnTo>
                      <a:pt x="547585" y="2298700"/>
                    </a:lnTo>
                    <a:lnTo>
                      <a:pt x="550583" y="2273300"/>
                    </a:lnTo>
                    <a:lnTo>
                      <a:pt x="557136" y="2247900"/>
                    </a:lnTo>
                    <a:lnTo>
                      <a:pt x="577037" y="2197100"/>
                    </a:lnTo>
                    <a:lnTo>
                      <a:pt x="583996" y="2171700"/>
                    </a:lnTo>
                    <a:lnTo>
                      <a:pt x="584923" y="2133600"/>
                    </a:lnTo>
                    <a:lnTo>
                      <a:pt x="568718" y="2082800"/>
                    </a:lnTo>
                    <a:lnTo>
                      <a:pt x="533361" y="2032000"/>
                    </a:lnTo>
                    <a:lnTo>
                      <a:pt x="483895" y="2006600"/>
                    </a:lnTo>
                    <a:lnTo>
                      <a:pt x="454164" y="2006600"/>
                    </a:lnTo>
                    <a:lnTo>
                      <a:pt x="424853" y="1993900"/>
                    </a:lnTo>
                    <a:lnTo>
                      <a:pt x="367487" y="2019300"/>
                    </a:lnTo>
                    <a:lnTo>
                      <a:pt x="341693" y="2032000"/>
                    </a:lnTo>
                    <a:lnTo>
                      <a:pt x="320903" y="2057400"/>
                    </a:lnTo>
                    <a:lnTo>
                      <a:pt x="305117" y="2070100"/>
                    </a:lnTo>
                    <a:lnTo>
                      <a:pt x="294322" y="2108200"/>
                    </a:lnTo>
                    <a:lnTo>
                      <a:pt x="277164" y="2159000"/>
                    </a:lnTo>
                    <a:lnTo>
                      <a:pt x="257606" y="2209800"/>
                    </a:lnTo>
                    <a:lnTo>
                      <a:pt x="235661" y="2247900"/>
                    </a:lnTo>
                    <a:lnTo>
                      <a:pt x="211315" y="2298700"/>
                    </a:lnTo>
                    <a:lnTo>
                      <a:pt x="184581" y="2349500"/>
                    </a:lnTo>
                    <a:lnTo>
                      <a:pt x="158369" y="2387600"/>
                    </a:lnTo>
                    <a:lnTo>
                      <a:pt x="130289" y="2438400"/>
                    </a:lnTo>
                    <a:lnTo>
                      <a:pt x="100368" y="2476500"/>
                    </a:lnTo>
                    <a:lnTo>
                      <a:pt x="68567" y="2527300"/>
                    </a:lnTo>
                    <a:lnTo>
                      <a:pt x="34925" y="2565400"/>
                    </a:lnTo>
                    <a:lnTo>
                      <a:pt x="17767" y="2590800"/>
                    </a:lnTo>
                    <a:lnTo>
                      <a:pt x="6235" y="2616200"/>
                    </a:lnTo>
                    <a:lnTo>
                      <a:pt x="317" y="2654300"/>
                    </a:lnTo>
                    <a:lnTo>
                      <a:pt x="0" y="2679700"/>
                    </a:lnTo>
                    <a:lnTo>
                      <a:pt x="5092" y="2705100"/>
                    </a:lnTo>
                    <a:lnTo>
                      <a:pt x="30861" y="2755900"/>
                    </a:lnTo>
                    <a:lnTo>
                      <a:pt x="75869" y="2794000"/>
                    </a:lnTo>
                    <a:lnTo>
                      <a:pt x="102260" y="2806700"/>
                    </a:lnTo>
                    <a:lnTo>
                      <a:pt x="191211" y="2806700"/>
                    </a:lnTo>
                    <a:lnTo>
                      <a:pt x="217805" y="2794000"/>
                    </a:lnTo>
                    <a:lnTo>
                      <a:pt x="241096" y="2781300"/>
                    </a:lnTo>
                    <a:lnTo>
                      <a:pt x="261086" y="2755900"/>
                    </a:lnTo>
                    <a:lnTo>
                      <a:pt x="300977" y="2717800"/>
                    </a:lnTo>
                    <a:lnTo>
                      <a:pt x="315417" y="2692400"/>
                    </a:lnTo>
                    <a:lnTo>
                      <a:pt x="332143" y="2679700"/>
                    </a:lnTo>
                    <a:lnTo>
                      <a:pt x="351167" y="2679700"/>
                    </a:lnTo>
                    <a:lnTo>
                      <a:pt x="372465" y="2667000"/>
                    </a:lnTo>
                    <a:lnTo>
                      <a:pt x="415277" y="2667000"/>
                    </a:lnTo>
                    <a:lnTo>
                      <a:pt x="435140" y="2679700"/>
                    </a:lnTo>
                    <a:lnTo>
                      <a:pt x="453961" y="2692400"/>
                    </a:lnTo>
                    <a:lnTo>
                      <a:pt x="477240" y="2705100"/>
                    </a:lnTo>
                    <a:lnTo>
                      <a:pt x="518896" y="2730500"/>
                    </a:lnTo>
                    <a:lnTo>
                      <a:pt x="562190" y="2755900"/>
                    </a:lnTo>
                    <a:lnTo>
                      <a:pt x="653681" y="2781300"/>
                    </a:lnTo>
                    <a:lnTo>
                      <a:pt x="751700" y="2806700"/>
                    </a:lnTo>
                    <a:lnTo>
                      <a:pt x="1810829" y="2806700"/>
                    </a:lnTo>
                    <a:lnTo>
                      <a:pt x="1839709" y="2794000"/>
                    </a:lnTo>
                    <a:lnTo>
                      <a:pt x="1866519" y="2794000"/>
                    </a:lnTo>
                    <a:lnTo>
                      <a:pt x="1891245" y="2781300"/>
                    </a:lnTo>
                    <a:lnTo>
                      <a:pt x="1913915" y="2755900"/>
                    </a:lnTo>
                    <a:lnTo>
                      <a:pt x="1932813" y="2743200"/>
                    </a:lnTo>
                    <a:lnTo>
                      <a:pt x="1946325" y="2717800"/>
                    </a:lnTo>
                    <a:lnTo>
                      <a:pt x="1954428" y="2679700"/>
                    </a:lnTo>
                    <a:lnTo>
                      <a:pt x="1955787" y="2667000"/>
                    </a:lnTo>
                    <a:lnTo>
                      <a:pt x="1957133" y="2654300"/>
                    </a:lnTo>
                    <a:lnTo>
                      <a:pt x="1954428" y="2628900"/>
                    </a:lnTo>
                    <a:lnTo>
                      <a:pt x="1932813" y="2578100"/>
                    </a:lnTo>
                    <a:lnTo>
                      <a:pt x="1891245" y="2527300"/>
                    </a:lnTo>
                    <a:lnTo>
                      <a:pt x="1866519" y="2514600"/>
                    </a:lnTo>
                    <a:lnTo>
                      <a:pt x="1839709" y="2514600"/>
                    </a:lnTo>
                    <a:lnTo>
                      <a:pt x="1810829" y="2501900"/>
                    </a:lnTo>
                    <a:lnTo>
                      <a:pt x="1275181" y="2501900"/>
                    </a:lnTo>
                    <a:lnTo>
                      <a:pt x="1252270" y="2489200"/>
                    </a:lnTo>
                    <a:lnTo>
                      <a:pt x="1213319" y="2438400"/>
                    </a:lnTo>
                    <a:lnTo>
                      <a:pt x="1195146" y="2387600"/>
                    </a:lnTo>
                    <a:lnTo>
                      <a:pt x="1193139" y="2362200"/>
                    </a:lnTo>
                    <a:lnTo>
                      <a:pt x="1193139" y="2057400"/>
                    </a:lnTo>
                    <a:lnTo>
                      <a:pt x="1195146" y="2032000"/>
                    </a:lnTo>
                    <a:lnTo>
                      <a:pt x="1201635" y="2006600"/>
                    </a:lnTo>
                    <a:lnTo>
                      <a:pt x="1213319" y="1968500"/>
                    </a:lnTo>
                    <a:lnTo>
                      <a:pt x="1230934" y="1955800"/>
                    </a:lnTo>
                    <a:lnTo>
                      <a:pt x="1252270" y="1930400"/>
                    </a:lnTo>
                    <a:lnTo>
                      <a:pt x="1275181" y="1917700"/>
                    </a:lnTo>
                    <a:lnTo>
                      <a:pt x="1300391" y="1905000"/>
                    </a:lnTo>
                    <a:lnTo>
                      <a:pt x="1451648" y="1905000"/>
                    </a:lnTo>
                    <a:lnTo>
                      <a:pt x="1500174" y="1892300"/>
                    </a:lnTo>
                    <a:lnTo>
                      <a:pt x="1544942" y="1892300"/>
                    </a:lnTo>
                    <a:lnTo>
                      <a:pt x="1586318" y="1879600"/>
                    </a:lnTo>
                    <a:lnTo>
                      <a:pt x="1624698" y="1854200"/>
                    </a:lnTo>
                    <a:lnTo>
                      <a:pt x="1660486" y="1816100"/>
                    </a:lnTo>
                    <a:lnTo>
                      <a:pt x="1691195" y="1790700"/>
                    </a:lnTo>
                    <a:lnTo>
                      <a:pt x="1714411" y="1752600"/>
                    </a:lnTo>
                    <a:lnTo>
                      <a:pt x="1730527" y="1714500"/>
                    </a:lnTo>
                    <a:lnTo>
                      <a:pt x="1739912" y="1663700"/>
                    </a:lnTo>
                    <a:lnTo>
                      <a:pt x="1742960" y="1612900"/>
                    </a:lnTo>
                    <a:lnTo>
                      <a:pt x="1742960" y="1600200"/>
                    </a:lnTo>
                    <a:lnTo>
                      <a:pt x="1745869" y="1574800"/>
                    </a:lnTo>
                    <a:lnTo>
                      <a:pt x="1754098" y="1562100"/>
                    </a:lnTo>
                    <a:lnTo>
                      <a:pt x="1766900" y="1536700"/>
                    </a:lnTo>
                    <a:lnTo>
                      <a:pt x="1783549" y="1524000"/>
                    </a:lnTo>
                    <a:lnTo>
                      <a:pt x="1803488" y="1511300"/>
                    </a:lnTo>
                    <a:lnTo>
                      <a:pt x="1826272" y="1498600"/>
                    </a:lnTo>
                    <a:lnTo>
                      <a:pt x="1851126" y="1485900"/>
                    </a:lnTo>
                    <a:lnTo>
                      <a:pt x="1911083" y="1485900"/>
                    </a:lnTo>
                    <a:lnTo>
                      <a:pt x="1939251" y="1473200"/>
                    </a:lnTo>
                    <a:lnTo>
                      <a:pt x="1965147" y="1460500"/>
                    </a:lnTo>
                    <a:lnTo>
                      <a:pt x="1988743" y="1435100"/>
                    </a:lnTo>
                    <a:lnTo>
                      <a:pt x="2008390" y="1422400"/>
                    </a:lnTo>
                    <a:lnTo>
                      <a:pt x="2022411" y="1397000"/>
                    </a:lnTo>
                    <a:lnTo>
                      <a:pt x="2030831" y="1358900"/>
                    </a:lnTo>
                    <a:lnTo>
                      <a:pt x="2033638" y="133350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5" name="object 9"/>
              <p:cNvSpPr>
                <a:spLocks noChangeArrowheads="1"/>
              </p:cNvSpPr>
              <p:nvPr userDrawn="1"/>
            </p:nvSpPr>
            <p:spPr bwMode="auto">
              <a:xfrm>
                <a:off x="8697913" y="7029450"/>
                <a:ext cx="1306512" cy="912813"/>
              </a:xfrm>
              <a:custGeom>
                <a:avLst/>
                <a:gdLst>
                  <a:gd name="T0" fmla="*/ 353193 w 1306195"/>
                  <a:gd name="T1" fmla="*/ 0 h 913765"/>
                  <a:gd name="T2" fmla="*/ 249188 w 1306195"/>
                  <a:gd name="T3" fmla="*/ 15359 h 913765"/>
                  <a:gd name="T4" fmla="*/ 128468 w 1306195"/>
                  <a:gd name="T5" fmla="*/ 80137 h 913765"/>
                  <a:gd name="T6" fmla="*/ 42341 w 1306195"/>
                  <a:gd name="T7" fmla="*/ 184724 h 913765"/>
                  <a:gd name="T8" fmla="*/ 1708 w 1306195"/>
                  <a:gd name="T9" fmla="*/ 317007 h 913765"/>
                  <a:gd name="T10" fmla="*/ 2168 w 1306195"/>
                  <a:gd name="T11" fmla="*/ 820758 h 913765"/>
                  <a:gd name="T12" fmla="*/ 52892 w 1306195"/>
                  <a:gd name="T13" fmla="*/ 894767 h 913765"/>
                  <a:gd name="T14" fmla="*/ 116677 w 1306195"/>
                  <a:gd name="T15" fmla="*/ 913616 h 913765"/>
                  <a:gd name="T16" fmla="*/ 182767 w 1306195"/>
                  <a:gd name="T17" fmla="*/ 894767 h 913765"/>
                  <a:gd name="T18" fmla="*/ 233673 w 1306195"/>
                  <a:gd name="T19" fmla="*/ 820758 h 913765"/>
                  <a:gd name="T20" fmla="*/ 238871 w 1306195"/>
                  <a:gd name="T21" fmla="*/ 367350 h 913765"/>
                  <a:gd name="T22" fmla="*/ 309626 w 1306195"/>
                  <a:gd name="T23" fmla="*/ 263079 h 913765"/>
                  <a:gd name="T24" fmla="*/ 399705 w 1306195"/>
                  <a:gd name="T25" fmla="*/ 235846 h 913765"/>
                  <a:gd name="T26" fmla="*/ 1278495 w 1306195"/>
                  <a:gd name="T27" fmla="*/ 215982 h 913765"/>
                  <a:gd name="T28" fmla="*/ 1203890 w 1306195"/>
                  <a:gd name="T29" fmla="*/ 103023 h 913765"/>
                  <a:gd name="T30" fmla="*/ 1091935 w 1306195"/>
                  <a:gd name="T31" fmla="*/ 27297 h 913765"/>
                  <a:gd name="T32" fmla="*/ 990751 w 1306195"/>
                  <a:gd name="T33" fmla="*/ 1707 h 913765"/>
                  <a:gd name="T34" fmla="*/ 652943 w 1306195"/>
                  <a:gd name="T35" fmla="*/ 297917 h 913765"/>
                  <a:gd name="T36" fmla="*/ 568516 w 1306195"/>
                  <a:gd name="T37" fmla="*/ 332670 h 913765"/>
                  <a:gd name="T38" fmla="*/ 533774 w 1306195"/>
                  <a:gd name="T39" fmla="*/ 417086 h 913765"/>
                  <a:gd name="T40" fmla="*/ 542452 w 1306195"/>
                  <a:gd name="T41" fmla="*/ 842558 h 913765"/>
                  <a:gd name="T42" fmla="*/ 606988 w 1306195"/>
                  <a:gd name="T43" fmla="*/ 905240 h 913765"/>
                  <a:gd name="T44" fmla="*/ 676749 w 1306195"/>
                  <a:gd name="T45" fmla="*/ 911522 h 913765"/>
                  <a:gd name="T46" fmla="*/ 750773 w 1306195"/>
                  <a:gd name="T47" fmla="*/ 862335 h 913765"/>
                  <a:gd name="T48" fmla="*/ 769631 w 1306195"/>
                  <a:gd name="T49" fmla="*/ 796928 h 913765"/>
                  <a:gd name="T50" fmla="*/ 761247 w 1306195"/>
                  <a:gd name="T51" fmla="*/ 371168 h 913765"/>
                  <a:gd name="T52" fmla="*/ 698549 w 1306195"/>
                  <a:gd name="T53" fmla="*/ 306608 h 913765"/>
                  <a:gd name="T54" fmla="*/ 1285757 w 1306195"/>
                  <a:gd name="T55" fmla="*/ 235846 h 913765"/>
                  <a:gd name="T56" fmla="*/ 938524 w 1306195"/>
                  <a:gd name="T57" fmla="*/ 238871 h 913765"/>
                  <a:gd name="T58" fmla="*/ 1021612 w 1306195"/>
                  <a:gd name="T59" fmla="*/ 284263 h 913765"/>
                  <a:gd name="T60" fmla="*/ 1070019 w 1306195"/>
                  <a:gd name="T61" fmla="*/ 399705 h 913765"/>
                  <a:gd name="T62" fmla="*/ 1072137 w 1306195"/>
                  <a:gd name="T63" fmla="*/ 820758 h 913765"/>
                  <a:gd name="T64" fmla="*/ 1121842 w 1306195"/>
                  <a:gd name="T65" fmla="*/ 894767 h 913765"/>
                  <a:gd name="T66" fmla="*/ 1187963 w 1306195"/>
                  <a:gd name="T67" fmla="*/ 913616 h 913765"/>
                  <a:gd name="T68" fmla="*/ 1254061 w 1306195"/>
                  <a:gd name="T69" fmla="*/ 894767 h 913765"/>
                  <a:gd name="T70" fmla="*/ 1303768 w 1306195"/>
                  <a:gd name="T71" fmla="*/ 820758 h 913765"/>
                  <a:gd name="T72" fmla="*/ 1305812 w 1306195"/>
                  <a:gd name="T73" fmla="*/ 350992 h 913765"/>
                  <a:gd name="T74" fmla="*/ 1299031 w 1306195"/>
                  <a:gd name="T75" fmla="*/ 282408 h 913765"/>
                  <a:gd name="T76" fmla="*/ 1285757 w 1306195"/>
                  <a:gd name="T77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06195" h="913765">
                    <a:moveTo>
                      <a:pt x="955175" y="0"/>
                    </a:moveTo>
                    <a:lnTo>
                      <a:pt x="353193" y="0"/>
                    </a:lnTo>
                    <a:lnTo>
                      <a:pt x="317588" y="1707"/>
                    </a:lnTo>
                    <a:lnTo>
                      <a:pt x="249188" y="15359"/>
                    </a:lnTo>
                    <a:lnTo>
                      <a:pt x="185044" y="42285"/>
                    </a:lnTo>
                    <a:lnTo>
                      <a:pt x="128468" y="80137"/>
                    </a:lnTo>
                    <a:lnTo>
                      <a:pt x="80280" y="128238"/>
                    </a:lnTo>
                    <a:lnTo>
                      <a:pt x="42341" y="184724"/>
                    </a:lnTo>
                    <a:lnTo>
                      <a:pt x="15376" y="248735"/>
                    </a:lnTo>
                    <a:lnTo>
                      <a:pt x="1708" y="317007"/>
                    </a:lnTo>
                    <a:lnTo>
                      <a:pt x="0" y="796928"/>
                    </a:lnTo>
                    <a:lnTo>
                      <a:pt x="2168" y="820758"/>
                    </a:lnTo>
                    <a:lnTo>
                      <a:pt x="19533" y="862335"/>
                    </a:lnTo>
                    <a:lnTo>
                      <a:pt x="52892" y="894767"/>
                    </a:lnTo>
                    <a:lnTo>
                      <a:pt x="93861" y="911522"/>
                    </a:lnTo>
                    <a:lnTo>
                      <a:pt x="116677" y="913616"/>
                    </a:lnTo>
                    <a:lnTo>
                      <a:pt x="140563" y="911522"/>
                    </a:lnTo>
                    <a:lnTo>
                      <a:pt x="182767" y="894767"/>
                    </a:lnTo>
                    <a:lnTo>
                      <a:pt x="216294" y="862335"/>
                    </a:lnTo>
                    <a:lnTo>
                      <a:pt x="233673" y="820758"/>
                    </a:lnTo>
                    <a:lnTo>
                      <a:pt x="235846" y="399705"/>
                    </a:lnTo>
                    <a:lnTo>
                      <a:pt x="238871" y="367350"/>
                    </a:lnTo>
                    <a:lnTo>
                      <a:pt x="263075" y="309626"/>
                    </a:lnTo>
                    <a:lnTo>
                      <a:pt x="309626" y="263079"/>
                    </a:lnTo>
                    <a:lnTo>
                      <a:pt x="367351" y="238871"/>
                    </a:lnTo>
                    <a:lnTo>
                      <a:pt x="399705" y="235846"/>
                    </a:lnTo>
                    <a:lnTo>
                      <a:pt x="1285757" y="235846"/>
                    </a:lnTo>
                    <a:lnTo>
                      <a:pt x="1278495" y="215982"/>
                    </a:lnTo>
                    <a:lnTo>
                      <a:pt x="1246171" y="155474"/>
                    </a:lnTo>
                    <a:lnTo>
                      <a:pt x="1203890" y="103023"/>
                    </a:lnTo>
                    <a:lnTo>
                      <a:pt x="1152282" y="59894"/>
                    </a:lnTo>
                    <a:lnTo>
                      <a:pt x="1091935" y="27297"/>
                    </a:lnTo>
                    <a:lnTo>
                      <a:pt x="1025404" y="6828"/>
                    </a:lnTo>
                    <a:lnTo>
                      <a:pt x="990751" y="1707"/>
                    </a:lnTo>
                    <a:lnTo>
                      <a:pt x="955175" y="0"/>
                    </a:lnTo>
                    <a:close/>
                  </a:path>
                  <a:path w="1306195" h="913765">
                    <a:moveTo>
                      <a:pt x="652943" y="297917"/>
                    </a:moveTo>
                    <a:lnTo>
                      <a:pt x="606988" y="306608"/>
                    </a:lnTo>
                    <a:lnTo>
                      <a:pt x="568516" y="332670"/>
                    </a:lnTo>
                    <a:lnTo>
                      <a:pt x="542452" y="371168"/>
                    </a:lnTo>
                    <a:lnTo>
                      <a:pt x="533774" y="417086"/>
                    </a:lnTo>
                    <a:lnTo>
                      <a:pt x="533774" y="796928"/>
                    </a:lnTo>
                    <a:lnTo>
                      <a:pt x="542452" y="842558"/>
                    </a:lnTo>
                    <a:lnTo>
                      <a:pt x="568516" y="880098"/>
                    </a:lnTo>
                    <a:lnTo>
                      <a:pt x="606988" y="905240"/>
                    </a:lnTo>
                    <a:lnTo>
                      <a:pt x="652943" y="913616"/>
                    </a:lnTo>
                    <a:lnTo>
                      <a:pt x="676749" y="911522"/>
                    </a:lnTo>
                    <a:lnTo>
                      <a:pt x="718338" y="894767"/>
                    </a:lnTo>
                    <a:lnTo>
                      <a:pt x="750773" y="862335"/>
                    </a:lnTo>
                    <a:lnTo>
                      <a:pt x="767534" y="820758"/>
                    </a:lnTo>
                    <a:lnTo>
                      <a:pt x="769631" y="796928"/>
                    </a:lnTo>
                    <a:lnTo>
                      <a:pt x="769631" y="417086"/>
                    </a:lnTo>
                    <a:lnTo>
                      <a:pt x="761247" y="371168"/>
                    </a:lnTo>
                    <a:lnTo>
                      <a:pt x="736113" y="332670"/>
                    </a:lnTo>
                    <a:lnTo>
                      <a:pt x="698549" y="306608"/>
                    </a:lnTo>
                    <a:lnTo>
                      <a:pt x="652943" y="297917"/>
                    </a:lnTo>
                    <a:close/>
                  </a:path>
                  <a:path w="1306195" h="913765">
                    <a:moveTo>
                      <a:pt x="1285757" y="235846"/>
                    </a:moveTo>
                    <a:lnTo>
                      <a:pt x="906171" y="235846"/>
                    </a:lnTo>
                    <a:lnTo>
                      <a:pt x="938524" y="238871"/>
                    </a:lnTo>
                    <a:lnTo>
                      <a:pt x="968549" y="247949"/>
                    </a:lnTo>
                    <a:lnTo>
                      <a:pt x="1021612" y="284263"/>
                    </a:lnTo>
                    <a:lnTo>
                      <a:pt x="1057921" y="337323"/>
                    </a:lnTo>
                    <a:lnTo>
                      <a:pt x="1070019" y="399705"/>
                    </a:lnTo>
                    <a:lnTo>
                      <a:pt x="1070019" y="796928"/>
                    </a:lnTo>
                    <a:lnTo>
                      <a:pt x="1072137" y="820758"/>
                    </a:lnTo>
                    <a:lnTo>
                      <a:pt x="1089076" y="862335"/>
                    </a:lnTo>
                    <a:lnTo>
                      <a:pt x="1121842" y="894767"/>
                    </a:lnTo>
                    <a:lnTo>
                      <a:pt x="1163871" y="911522"/>
                    </a:lnTo>
                    <a:lnTo>
                      <a:pt x="1187963" y="913616"/>
                    </a:lnTo>
                    <a:lnTo>
                      <a:pt x="1212023" y="911522"/>
                    </a:lnTo>
                    <a:lnTo>
                      <a:pt x="1254061" y="894767"/>
                    </a:lnTo>
                    <a:lnTo>
                      <a:pt x="1286830" y="862335"/>
                    </a:lnTo>
                    <a:lnTo>
                      <a:pt x="1303768" y="820758"/>
                    </a:lnTo>
                    <a:lnTo>
                      <a:pt x="1305886" y="796928"/>
                    </a:lnTo>
                    <a:lnTo>
                      <a:pt x="1305812" y="350992"/>
                    </a:lnTo>
                    <a:lnTo>
                      <a:pt x="1304172" y="317007"/>
                    </a:lnTo>
                    <a:lnTo>
                      <a:pt x="1299031" y="282408"/>
                    </a:lnTo>
                    <a:lnTo>
                      <a:pt x="1290470" y="248735"/>
                    </a:lnTo>
                    <a:lnTo>
                      <a:pt x="1285757" y="235846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6" name="object 10"/>
              <p:cNvSpPr>
                <a:spLocks noChangeArrowheads="1"/>
              </p:cNvSpPr>
              <p:nvPr userDrawn="1"/>
            </p:nvSpPr>
            <p:spPr bwMode="auto">
              <a:xfrm>
                <a:off x="10213975" y="7029450"/>
                <a:ext cx="1068388" cy="912813"/>
              </a:xfrm>
              <a:custGeom>
                <a:avLst/>
                <a:gdLst>
                  <a:gd name="T0" fmla="*/ 355842 w 1068070"/>
                  <a:gd name="T1" fmla="*/ 0 h 913765"/>
                  <a:gd name="T2" fmla="*/ 249469 w 1068070"/>
                  <a:gd name="T3" fmla="*/ 15359 h 913765"/>
                  <a:gd name="T4" fmla="*/ 128549 w 1068070"/>
                  <a:gd name="T5" fmla="*/ 80137 h 913765"/>
                  <a:gd name="T6" fmla="*/ 42358 w 1068070"/>
                  <a:gd name="T7" fmla="*/ 184724 h 913765"/>
                  <a:gd name="T8" fmla="*/ 1710 w 1068070"/>
                  <a:gd name="T9" fmla="*/ 317011 h 913765"/>
                  <a:gd name="T10" fmla="*/ 0 w 1068070"/>
                  <a:gd name="T11" fmla="*/ 561082 h 913765"/>
                  <a:gd name="T12" fmla="*/ 27360 w 1068070"/>
                  <a:gd name="T13" fmla="*/ 698868 h 913765"/>
                  <a:gd name="T14" fmla="*/ 103274 w 1068070"/>
                  <a:gd name="T15" fmla="*/ 810593 h 913765"/>
                  <a:gd name="T16" fmla="*/ 216496 w 1068070"/>
                  <a:gd name="T17" fmla="*/ 886308 h 913765"/>
                  <a:gd name="T18" fmla="*/ 355842 w 1068070"/>
                  <a:gd name="T19" fmla="*/ 913616 h 913765"/>
                  <a:gd name="T20" fmla="*/ 784500 w 1068070"/>
                  <a:gd name="T21" fmla="*/ 906802 h 913765"/>
                  <a:gd name="T22" fmla="*/ 911728 w 1068070"/>
                  <a:gd name="T23" fmla="*/ 853727 h 913765"/>
                  <a:gd name="T24" fmla="*/ 1007534 w 1068070"/>
                  <a:gd name="T25" fmla="*/ 758449 h 913765"/>
                  <a:gd name="T26" fmla="*/ 1047980 w 1068070"/>
                  <a:gd name="T27" fmla="*/ 677769 h 913765"/>
                  <a:gd name="T28" fmla="*/ 368753 w 1068070"/>
                  <a:gd name="T29" fmla="*/ 674822 h 913765"/>
                  <a:gd name="T30" fmla="*/ 263091 w 1068070"/>
                  <a:gd name="T31" fmla="*/ 605628 h 913765"/>
                  <a:gd name="T32" fmla="*/ 235867 w 1068070"/>
                  <a:gd name="T33" fmla="*/ 513911 h 913765"/>
                  <a:gd name="T34" fmla="*/ 247964 w 1068070"/>
                  <a:gd name="T35" fmla="*/ 337327 h 913765"/>
                  <a:gd name="T36" fmla="*/ 337954 w 1068070"/>
                  <a:gd name="T37" fmla="*/ 247953 h 913765"/>
                  <a:gd name="T38" fmla="*/ 1047433 w 1068070"/>
                  <a:gd name="T39" fmla="*/ 235846 h 913765"/>
                  <a:gd name="T40" fmla="*/ 1007534 w 1068070"/>
                  <a:gd name="T41" fmla="*/ 155474 h 913765"/>
                  <a:gd name="T42" fmla="*/ 911728 w 1068070"/>
                  <a:gd name="T43" fmla="*/ 59894 h 913765"/>
                  <a:gd name="T44" fmla="*/ 784500 w 1068070"/>
                  <a:gd name="T45" fmla="*/ 6828 h 913765"/>
                  <a:gd name="T46" fmla="*/ 714208 w 1068070"/>
                  <a:gd name="T47" fmla="*/ 0 h 913765"/>
                  <a:gd name="T48" fmla="*/ 665361 w 1068070"/>
                  <a:gd name="T49" fmla="*/ 235846 h 913765"/>
                  <a:gd name="T50" fmla="*/ 728048 w 1068070"/>
                  <a:gd name="T51" fmla="*/ 247953 h 913765"/>
                  <a:gd name="T52" fmla="*/ 819293 w 1068070"/>
                  <a:gd name="T53" fmla="*/ 337327 h 913765"/>
                  <a:gd name="T54" fmla="*/ 831712 w 1068070"/>
                  <a:gd name="T55" fmla="*/ 513911 h 913765"/>
                  <a:gd name="T56" fmla="*/ 782049 w 1068070"/>
                  <a:gd name="T57" fmla="*/ 630598 h 913765"/>
                  <a:gd name="T58" fmla="*/ 665361 w 1068070"/>
                  <a:gd name="T59" fmla="*/ 677769 h 913765"/>
                  <a:gd name="T60" fmla="*/ 1052142 w 1068070"/>
                  <a:gd name="T61" fmla="*/ 666515 h 913765"/>
                  <a:gd name="T62" fmla="*/ 1065842 w 1068070"/>
                  <a:gd name="T63" fmla="*/ 597623 h 913765"/>
                  <a:gd name="T64" fmla="*/ 1067559 w 1068070"/>
                  <a:gd name="T65" fmla="*/ 352533 h 913765"/>
                  <a:gd name="T66" fmla="*/ 1060700 w 1068070"/>
                  <a:gd name="T67" fmla="*/ 282412 h 913765"/>
                  <a:gd name="T68" fmla="*/ 1047433 w 1068070"/>
                  <a:gd name="T69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68070" h="913765">
                    <a:moveTo>
                      <a:pt x="714208" y="0"/>
                    </a:moveTo>
                    <a:lnTo>
                      <a:pt x="355842" y="0"/>
                    </a:lnTo>
                    <a:lnTo>
                      <a:pt x="319140" y="1707"/>
                    </a:lnTo>
                    <a:lnTo>
                      <a:pt x="249469" y="15359"/>
                    </a:lnTo>
                    <a:lnTo>
                      <a:pt x="185159" y="42285"/>
                    </a:lnTo>
                    <a:lnTo>
                      <a:pt x="128549" y="80137"/>
                    </a:lnTo>
                    <a:lnTo>
                      <a:pt x="80325" y="128238"/>
                    </a:lnTo>
                    <a:lnTo>
                      <a:pt x="42358" y="184724"/>
                    </a:lnTo>
                    <a:lnTo>
                      <a:pt x="15390" y="248736"/>
                    </a:lnTo>
                    <a:lnTo>
                      <a:pt x="1710" y="317011"/>
                    </a:lnTo>
                    <a:lnTo>
                      <a:pt x="0" y="352533"/>
                    </a:lnTo>
                    <a:lnTo>
                      <a:pt x="0" y="561082"/>
                    </a:lnTo>
                    <a:lnTo>
                      <a:pt x="6840" y="632767"/>
                    </a:lnTo>
                    <a:lnTo>
                      <a:pt x="27360" y="698868"/>
                    </a:lnTo>
                    <a:lnTo>
                      <a:pt x="60016" y="758449"/>
                    </a:lnTo>
                    <a:lnTo>
                      <a:pt x="103274" y="810593"/>
                    </a:lnTo>
                    <a:lnTo>
                      <a:pt x="155844" y="853727"/>
                    </a:lnTo>
                    <a:lnTo>
                      <a:pt x="216496" y="886308"/>
                    </a:lnTo>
                    <a:lnTo>
                      <a:pt x="283683" y="906802"/>
                    </a:lnTo>
                    <a:lnTo>
                      <a:pt x="355842" y="913616"/>
                    </a:lnTo>
                    <a:lnTo>
                      <a:pt x="714208" y="913616"/>
                    </a:lnTo>
                    <a:lnTo>
                      <a:pt x="784500" y="906802"/>
                    </a:lnTo>
                    <a:lnTo>
                      <a:pt x="851063" y="886308"/>
                    </a:lnTo>
                    <a:lnTo>
                      <a:pt x="911728" y="853727"/>
                    </a:lnTo>
                    <a:lnTo>
                      <a:pt x="964305" y="810593"/>
                    </a:lnTo>
                    <a:lnTo>
                      <a:pt x="1007534" y="758449"/>
                    </a:lnTo>
                    <a:lnTo>
                      <a:pt x="1040177" y="698868"/>
                    </a:lnTo>
                    <a:lnTo>
                      <a:pt x="1047980" y="677769"/>
                    </a:lnTo>
                    <a:lnTo>
                      <a:pt x="402197" y="677769"/>
                    </a:lnTo>
                    <a:lnTo>
                      <a:pt x="368753" y="674822"/>
                    </a:lnTo>
                    <a:lnTo>
                      <a:pt x="309795" y="651239"/>
                    </a:lnTo>
                    <a:lnTo>
                      <a:pt x="263091" y="605628"/>
                    </a:lnTo>
                    <a:lnTo>
                      <a:pt x="238891" y="547280"/>
                    </a:lnTo>
                    <a:lnTo>
                      <a:pt x="235867" y="513911"/>
                    </a:lnTo>
                    <a:lnTo>
                      <a:pt x="235867" y="399705"/>
                    </a:lnTo>
                    <a:lnTo>
                      <a:pt x="247964" y="337327"/>
                    </a:lnTo>
                    <a:lnTo>
                      <a:pt x="284274" y="284263"/>
                    </a:lnTo>
                    <a:lnTo>
                      <a:pt x="337954" y="247953"/>
                    </a:lnTo>
                    <a:lnTo>
                      <a:pt x="402197" y="235846"/>
                    </a:lnTo>
                    <a:lnTo>
                      <a:pt x="1047433" y="235846"/>
                    </a:lnTo>
                    <a:lnTo>
                      <a:pt x="1040177" y="215982"/>
                    </a:lnTo>
                    <a:lnTo>
                      <a:pt x="1007534" y="155474"/>
                    </a:lnTo>
                    <a:lnTo>
                      <a:pt x="964305" y="103023"/>
                    </a:lnTo>
                    <a:lnTo>
                      <a:pt x="911728" y="59894"/>
                    </a:lnTo>
                    <a:lnTo>
                      <a:pt x="851063" y="27297"/>
                    </a:lnTo>
                    <a:lnTo>
                      <a:pt x="784500" y="6828"/>
                    </a:lnTo>
                    <a:lnTo>
                      <a:pt x="749820" y="1707"/>
                    </a:lnTo>
                    <a:lnTo>
                      <a:pt x="714208" y="0"/>
                    </a:lnTo>
                    <a:close/>
                  </a:path>
                  <a:path w="1068070" h="913765">
                    <a:moveTo>
                      <a:pt x="1047433" y="235846"/>
                    </a:moveTo>
                    <a:lnTo>
                      <a:pt x="665361" y="235846"/>
                    </a:lnTo>
                    <a:lnTo>
                      <a:pt x="697794" y="238873"/>
                    </a:lnTo>
                    <a:lnTo>
                      <a:pt x="728048" y="247953"/>
                    </a:lnTo>
                    <a:lnTo>
                      <a:pt x="782049" y="284263"/>
                    </a:lnTo>
                    <a:lnTo>
                      <a:pt x="819293" y="337327"/>
                    </a:lnTo>
                    <a:lnTo>
                      <a:pt x="831712" y="399705"/>
                    </a:lnTo>
                    <a:lnTo>
                      <a:pt x="831712" y="513911"/>
                    </a:lnTo>
                    <a:lnTo>
                      <a:pt x="819293" y="577854"/>
                    </a:lnTo>
                    <a:lnTo>
                      <a:pt x="782049" y="630598"/>
                    </a:lnTo>
                    <a:lnTo>
                      <a:pt x="728048" y="665979"/>
                    </a:lnTo>
                    <a:lnTo>
                      <a:pt x="665361" y="677769"/>
                    </a:lnTo>
                    <a:lnTo>
                      <a:pt x="1047980" y="677769"/>
                    </a:lnTo>
                    <a:lnTo>
                      <a:pt x="1052142" y="666515"/>
                    </a:lnTo>
                    <a:lnTo>
                      <a:pt x="1060700" y="632767"/>
                    </a:lnTo>
                    <a:lnTo>
                      <a:pt x="1065842" y="597623"/>
                    </a:lnTo>
                    <a:lnTo>
                      <a:pt x="1067559" y="561082"/>
                    </a:lnTo>
                    <a:lnTo>
                      <a:pt x="1067559" y="352533"/>
                    </a:lnTo>
                    <a:lnTo>
                      <a:pt x="1065842" y="317011"/>
                    </a:lnTo>
                    <a:lnTo>
                      <a:pt x="1060700" y="282412"/>
                    </a:lnTo>
                    <a:lnTo>
                      <a:pt x="1052142" y="248736"/>
                    </a:lnTo>
                    <a:lnTo>
                      <a:pt x="1047433" y="235846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7" name="object 11"/>
              <p:cNvSpPr>
                <a:spLocks noChangeArrowheads="1"/>
              </p:cNvSpPr>
              <p:nvPr userDrawn="1"/>
            </p:nvSpPr>
            <p:spPr bwMode="auto">
              <a:xfrm>
                <a:off x="11460163" y="6557010"/>
                <a:ext cx="1555750" cy="1985963"/>
              </a:xfrm>
              <a:custGeom>
                <a:avLst/>
                <a:gdLst>
                  <a:gd name="T0" fmla="*/ 1097965 w 1554480"/>
                  <a:gd name="T1" fmla="*/ 751649 h 1986279"/>
                  <a:gd name="T2" fmla="*/ 1044575 w 1554480"/>
                  <a:gd name="T3" fmla="*/ 625030 h 1986279"/>
                  <a:gd name="T4" fmla="*/ 949007 w 1554480"/>
                  <a:gd name="T5" fmla="*/ 529450 h 1986279"/>
                  <a:gd name="T6" fmla="*/ 822375 w 1554480"/>
                  <a:gd name="T7" fmla="*/ 476072 h 1986279"/>
                  <a:gd name="T8" fmla="*/ 429514 w 1554480"/>
                  <a:gd name="T9" fmla="*/ 469239 h 1986279"/>
                  <a:gd name="T10" fmla="*/ 345109 w 1554480"/>
                  <a:gd name="T11" fmla="*/ 503986 h 1986279"/>
                  <a:gd name="T12" fmla="*/ 310349 w 1554480"/>
                  <a:gd name="T13" fmla="*/ 585914 h 1986279"/>
                  <a:gd name="T14" fmla="*/ 329882 w 1554480"/>
                  <a:gd name="T15" fmla="*/ 652030 h 1986279"/>
                  <a:gd name="T16" fmla="*/ 405599 w 1554480"/>
                  <a:gd name="T17" fmla="*/ 702919 h 1986279"/>
                  <a:gd name="T18" fmla="*/ 775055 w 1554480"/>
                  <a:gd name="T19" fmla="*/ 707263 h 1986279"/>
                  <a:gd name="T20" fmla="*/ 849388 w 1554480"/>
                  <a:gd name="T21" fmla="*/ 757072 h 1986279"/>
                  <a:gd name="T22" fmla="*/ 868946 w 1554480"/>
                  <a:gd name="T23" fmla="*/ 821766 h 1986279"/>
                  <a:gd name="T24" fmla="*/ 860247 w 1554480"/>
                  <a:gd name="T25" fmla="*/ 1078115 h 1986279"/>
                  <a:gd name="T26" fmla="*/ 796315 w 1554480"/>
                  <a:gd name="T27" fmla="*/ 1138326 h 1986279"/>
                  <a:gd name="T28" fmla="*/ 352539 w 1554480"/>
                  <a:gd name="T29" fmla="*/ 1147013 h 1986279"/>
                  <a:gd name="T30" fmla="*/ 268135 w 1554480"/>
                  <a:gd name="T31" fmla="*/ 1112240 h 1986279"/>
                  <a:gd name="T32" fmla="*/ 235851 w 1554480"/>
                  <a:gd name="T33" fmla="*/ 1030325 h 1986279"/>
                  <a:gd name="T34" fmla="*/ 233680 w 1554480"/>
                  <a:gd name="T35" fmla="*/ 92887 h 1986279"/>
                  <a:gd name="T36" fmla="*/ 182791 w 1554480"/>
                  <a:gd name="T37" fmla="*/ 18859 h 1986279"/>
                  <a:gd name="T38" fmla="*/ 116700 w 1554480"/>
                  <a:gd name="T39" fmla="*/ 0 h 1986279"/>
                  <a:gd name="T40" fmla="*/ 51282 w 1554480"/>
                  <a:gd name="T41" fmla="*/ 18859 h 1986279"/>
                  <a:gd name="T42" fmla="*/ 2095 w 1554480"/>
                  <a:gd name="T43" fmla="*/ 92887 h 1986279"/>
                  <a:gd name="T44" fmla="*/ 0 w 1554480"/>
                  <a:gd name="T45" fmla="*/ 1030325 h 1986279"/>
                  <a:gd name="T46" fmla="*/ 27330 w 1554480"/>
                  <a:gd name="T47" fmla="*/ 1166876 h 1986279"/>
                  <a:gd name="T48" fmla="*/ 104279 w 1554480"/>
                  <a:gd name="T49" fmla="*/ 1281061 h 1986279"/>
                  <a:gd name="T50" fmla="*/ 214757 w 1554480"/>
                  <a:gd name="T51" fmla="*/ 1355559 h 1986279"/>
                  <a:gd name="T52" fmla="*/ 352539 w 1554480"/>
                  <a:gd name="T53" fmla="*/ 1382852 h 1986279"/>
                  <a:gd name="T54" fmla="*/ 822375 w 1554480"/>
                  <a:gd name="T55" fmla="*/ 1376032 h 1986279"/>
                  <a:gd name="T56" fmla="*/ 949007 w 1554480"/>
                  <a:gd name="T57" fmla="*/ 1323289 h 1986279"/>
                  <a:gd name="T58" fmla="*/ 1044575 w 1554480"/>
                  <a:gd name="T59" fmla="*/ 1227709 h 1986279"/>
                  <a:gd name="T60" fmla="*/ 1097965 w 1554480"/>
                  <a:gd name="T61" fmla="*/ 1100467 h 1986279"/>
                  <a:gd name="T62" fmla="*/ 1104798 w 1554480"/>
                  <a:gd name="T63" fmla="*/ 821766 h 1986279"/>
                  <a:gd name="T64" fmla="*/ 1546021 w 1554480"/>
                  <a:gd name="T65" fmla="*/ 559244 h 1986279"/>
                  <a:gd name="T66" fmla="*/ 1483334 w 1554480"/>
                  <a:gd name="T67" fmla="*/ 495300 h 1986279"/>
                  <a:gd name="T68" fmla="*/ 1413814 w 1554480"/>
                  <a:gd name="T69" fmla="*/ 488784 h 1986279"/>
                  <a:gd name="T70" fmla="*/ 1338084 w 1554480"/>
                  <a:gd name="T71" fmla="*/ 539534 h 1986279"/>
                  <a:gd name="T72" fmla="*/ 1318539 w 1554480"/>
                  <a:gd name="T73" fmla="*/ 603300 h 1986279"/>
                  <a:gd name="T74" fmla="*/ 1316520 w 1554480"/>
                  <a:gd name="T75" fmla="*/ 1658429 h 1986279"/>
                  <a:gd name="T76" fmla="*/ 1269034 w 1554480"/>
                  <a:gd name="T77" fmla="*/ 1732127 h 1986279"/>
                  <a:gd name="T78" fmla="*/ 1204353 w 1554480"/>
                  <a:gd name="T79" fmla="*/ 1750301 h 1986279"/>
                  <a:gd name="T80" fmla="*/ 1024204 w 1554480"/>
                  <a:gd name="T81" fmla="*/ 1752460 h 1986279"/>
                  <a:gd name="T82" fmla="*/ 951903 w 1554480"/>
                  <a:gd name="T83" fmla="*/ 1803349 h 1986279"/>
                  <a:gd name="T84" fmla="*/ 933729 w 1554480"/>
                  <a:gd name="T85" fmla="*/ 1869465 h 1986279"/>
                  <a:gd name="T86" fmla="*/ 951903 w 1554480"/>
                  <a:gd name="T87" fmla="*/ 1934870 h 1986279"/>
                  <a:gd name="T88" fmla="*/ 1024204 w 1554480"/>
                  <a:gd name="T89" fmla="*/ 1984057 h 1986279"/>
                  <a:gd name="T90" fmla="*/ 1204353 w 1554480"/>
                  <a:gd name="T91" fmla="*/ 1986153 h 1986279"/>
                  <a:gd name="T92" fmla="*/ 1339659 w 1554480"/>
                  <a:gd name="T93" fmla="*/ 1958835 h 1986279"/>
                  <a:gd name="T94" fmla="*/ 1452626 w 1554480"/>
                  <a:gd name="T95" fmla="*/ 1881873 h 1986279"/>
                  <a:gd name="T96" fmla="*/ 1509166 w 1554480"/>
                  <a:gd name="T97" fmla="*/ 1811248 h 1986279"/>
                  <a:gd name="T98" fmla="*/ 1543088 w 1554480"/>
                  <a:gd name="T99" fmla="*/ 1728495 h 1986279"/>
                  <a:gd name="T100" fmla="*/ 1554403 w 1554480"/>
                  <a:gd name="T101" fmla="*/ 1633613 h 1986279"/>
                  <a:gd name="T102" fmla="*/ 1554403 w 1554480"/>
                  <a:gd name="T103" fmla="*/ 219760 h 1986279"/>
                  <a:gd name="T104" fmla="*/ 1520888 w 1554480"/>
                  <a:gd name="T105" fmla="*/ 137439 h 1986279"/>
                  <a:gd name="T106" fmla="*/ 1437716 w 1554480"/>
                  <a:gd name="T107" fmla="*/ 104267 h 1986279"/>
                  <a:gd name="T108" fmla="*/ 1371612 w 1554480"/>
                  <a:gd name="T109" fmla="*/ 122936 h 1986279"/>
                  <a:gd name="T110" fmla="*/ 1320711 w 1554480"/>
                  <a:gd name="T111" fmla="*/ 196202 h 1986279"/>
                  <a:gd name="T112" fmla="*/ 1318539 w 1554480"/>
                  <a:gd name="T113" fmla="*/ 222211 h 1986279"/>
                  <a:gd name="T114" fmla="*/ 1353312 w 1554480"/>
                  <a:gd name="T115" fmla="*/ 305765 h 1986279"/>
                  <a:gd name="T116" fmla="*/ 1437716 w 1554480"/>
                  <a:gd name="T117" fmla="*/ 340131 h 1986279"/>
                  <a:gd name="T118" fmla="*/ 1503121 w 1554480"/>
                  <a:gd name="T119" fmla="*/ 320802 h 1986279"/>
                  <a:gd name="T120" fmla="*/ 1552308 w 1554480"/>
                  <a:gd name="T121" fmla="*/ 245859 h 1986279"/>
                  <a:gd name="T122" fmla="*/ 1554403 w 1554480"/>
                  <a:gd name="T123" fmla="*/ 219760 h 1986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54480" h="1986279">
                    <a:moveTo>
                      <a:pt x="1104798" y="821766"/>
                    </a:moveTo>
                    <a:lnTo>
                      <a:pt x="1097965" y="751649"/>
                    </a:lnTo>
                    <a:lnTo>
                      <a:pt x="1077493" y="685215"/>
                    </a:lnTo>
                    <a:lnTo>
                      <a:pt x="1044575" y="625030"/>
                    </a:lnTo>
                    <a:lnTo>
                      <a:pt x="1000531" y="573506"/>
                    </a:lnTo>
                    <a:lnTo>
                      <a:pt x="949007" y="529450"/>
                    </a:lnTo>
                    <a:lnTo>
                      <a:pt x="888822" y="496531"/>
                    </a:lnTo>
                    <a:lnTo>
                      <a:pt x="822375" y="476072"/>
                    </a:lnTo>
                    <a:lnTo>
                      <a:pt x="752259" y="469239"/>
                    </a:lnTo>
                    <a:lnTo>
                      <a:pt x="429514" y="469239"/>
                    </a:lnTo>
                    <a:lnTo>
                      <a:pt x="383565" y="477926"/>
                    </a:lnTo>
                    <a:lnTo>
                      <a:pt x="345109" y="503986"/>
                    </a:lnTo>
                    <a:lnTo>
                      <a:pt x="319024" y="541870"/>
                    </a:lnTo>
                    <a:lnTo>
                      <a:pt x="310349" y="585914"/>
                    </a:lnTo>
                    <a:lnTo>
                      <a:pt x="312508" y="609828"/>
                    </a:lnTo>
                    <a:lnTo>
                      <a:pt x="329882" y="652030"/>
                    </a:lnTo>
                    <a:lnTo>
                      <a:pt x="363397" y="685546"/>
                    </a:lnTo>
                    <a:lnTo>
                      <a:pt x="405599" y="702919"/>
                    </a:lnTo>
                    <a:lnTo>
                      <a:pt x="752259" y="705078"/>
                    </a:lnTo>
                    <a:lnTo>
                      <a:pt x="775055" y="707263"/>
                    </a:lnTo>
                    <a:lnTo>
                      <a:pt x="816025" y="724649"/>
                    </a:lnTo>
                    <a:lnTo>
                      <a:pt x="849388" y="757072"/>
                    </a:lnTo>
                    <a:lnTo>
                      <a:pt x="866775" y="798042"/>
                    </a:lnTo>
                    <a:lnTo>
                      <a:pt x="868946" y="821766"/>
                    </a:lnTo>
                    <a:lnTo>
                      <a:pt x="868946" y="1030325"/>
                    </a:lnTo>
                    <a:lnTo>
                      <a:pt x="860247" y="1078115"/>
                    </a:lnTo>
                    <a:lnTo>
                      <a:pt x="834186" y="1112240"/>
                    </a:lnTo>
                    <a:lnTo>
                      <a:pt x="796315" y="1138326"/>
                    </a:lnTo>
                    <a:lnTo>
                      <a:pt x="752259" y="1147013"/>
                    </a:lnTo>
                    <a:lnTo>
                      <a:pt x="352539" y="1147013"/>
                    </a:lnTo>
                    <a:lnTo>
                      <a:pt x="309092" y="1138326"/>
                    </a:lnTo>
                    <a:lnTo>
                      <a:pt x="268135" y="1112240"/>
                    </a:lnTo>
                    <a:lnTo>
                      <a:pt x="243916" y="1076871"/>
                    </a:lnTo>
                    <a:lnTo>
                      <a:pt x="235851" y="1030325"/>
                    </a:lnTo>
                    <a:lnTo>
                      <a:pt x="235851" y="116687"/>
                    </a:lnTo>
                    <a:lnTo>
                      <a:pt x="233680" y="92887"/>
                    </a:lnTo>
                    <a:lnTo>
                      <a:pt x="216306" y="51295"/>
                    </a:lnTo>
                    <a:lnTo>
                      <a:pt x="182791" y="18859"/>
                    </a:lnTo>
                    <a:lnTo>
                      <a:pt x="140576" y="2095"/>
                    </a:lnTo>
                    <a:lnTo>
                      <a:pt x="116700" y="0"/>
                    </a:lnTo>
                    <a:lnTo>
                      <a:pt x="92862" y="2095"/>
                    </a:lnTo>
                    <a:lnTo>
                      <a:pt x="51282" y="18859"/>
                    </a:lnTo>
                    <a:lnTo>
                      <a:pt x="18859" y="51295"/>
                    </a:lnTo>
                    <a:lnTo>
                      <a:pt x="2095" y="92887"/>
                    </a:lnTo>
                    <a:lnTo>
                      <a:pt x="0" y="116687"/>
                    </a:lnTo>
                    <a:lnTo>
                      <a:pt x="0" y="1030325"/>
                    </a:lnTo>
                    <a:lnTo>
                      <a:pt x="6819" y="1100467"/>
                    </a:lnTo>
                    <a:lnTo>
                      <a:pt x="27330" y="1166876"/>
                    </a:lnTo>
                    <a:lnTo>
                      <a:pt x="60198" y="1227709"/>
                    </a:lnTo>
                    <a:lnTo>
                      <a:pt x="104279" y="1281061"/>
                    </a:lnTo>
                    <a:lnTo>
                      <a:pt x="155473" y="1323289"/>
                    </a:lnTo>
                    <a:lnTo>
                      <a:pt x="214757" y="1355559"/>
                    </a:lnTo>
                    <a:lnTo>
                      <a:pt x="280860" y="1376032"/>
                    </a:lnTo>
                    <a:lnTo>
                      <a:pt x="352539" y="1382852"/>
                    </a:lnTo>
                    <a:lnTo>
                      <a:pt x="752259" y="1382852"/>
                    </a:lnTo>
                    <a:lnTo>
                      <a:pt x="822375" y="1376032"/>
                    </a:lnTo>
                    <a:lnTo>
                      <a:pt x="888822" y="1355559"/>
                    </a:lnTo>
                    <a:lnTo>
                      <a:pt x="949007" y="1323289"/>
                    </a:lnTo>
                    <a:lnTo>
                      <a:pt x="1000531" y="1281061"/>
                    </a:lnTo>
                    <a:lnTo>
                      <a:pt x="1044575" y="1227709"/>
                    </a:lnTo>
                    <a:lnTo>
                      <a:pt x="1077493" y="1166876"/>
                    </a:lnTo>
                    <a:lnTo>
                      <a:pt x="1097965" y="1100467"/>
                    </a:lnTo>
                    <a:lnTo>
                      <a:pt x="1104798" y="1030325"/>
                    </a:lnTo>
                    <a:lnTo>
                      <a:pt x="1104798" y="821766"/>
                    </a:lnTo>
                    <a:close/>
                  </a:path>
                  <a:path w="1554480" h="1986279">
                    <a:moveTo>
                      <a:pt x="1554403" y="603300"/>
                    </a:moveTo>
                    <a:lnTo>
                      <a:pt x="1546021" y="559244"/>
                    </a:lnTo>
                    <a:lnTo>
                      <a:pt x="1520888" y="521373"/>
                    </a:lnTo>
                    <a:lnTo>
                      <a:pt x="1483334" y="495300"/>
                    </a:lnTo>
                    <a:lnTo>
                      <a:pt x="1437716" y="486613"/>
                    </a:lnTo>
                    <a:lnTo>
                      <a:pt x="1413814" y="488784"/>
                    </a:lnTo>
                    <a:lnTo>
                      <a:pt x="1371612" y="506171"/>
                    </a:lnTo>
                    <a:lnTo>
                      <a:pt x="1338084" y="539534"/>
                    </a:lnTo>
                    <a:lnTo>
                      <a:pt x="1320711" y="580504"/>
                    </a:lnTo>
                    <a:lnTo>
                      <a:pt x="1318539" y="603300"/>
                    </a:lnTo>
                    <a:lnTo>
                      <a:pt x="1318539" y="1633613"/>
                    </a:lnTo>
                    <a:lnTo>
                      <a:pt x="1316520" y="1658429"/>
                    </a:lnTo>
                    <a:lnTo>
                      <a:pt x="1300391" y="1700631"/>
                    </a:lnTo>
                    <a:lnTo>
                      <a:pt x="1269034" y="1732127"/>
                    </a:lnTo>
                    <a:lnTo>
                      <a:pt x="1228077" y="1748269"/>
                    </a:lnTo>
                    <a:lnTo>
                      <a:pt x="1204353" y="1750301"/>
                    </a:lnTo>
                    <a:lnTo>
                      <a:pt x="1047940" y="1750301"/>
                    </a:lnTo>
                    <a:lnTo>
                      <a:pt x="1024204" y="1752460"/>
                    </a:lnTo>
                    <a:lnTo>
                      <a:pt x="983246" y="1769833"/>
                    </a:lnTo>
                    <a:lnTo>
                      <a:pt x="951903" y="1803349"/>
                    </a:lnTo>
                    <a:lnTo>
                      <a:pt x="935748" y="1845551"/>
                    </a:lnTo>
                    <a:lnTo>
                      <a:pt x="933729" y="1869465"/>
                    </a:lnTo>
                    <a:lnTo>
                      <a:pt x="935748" y="1893277"/>
                    </a:lnTo>
                    <a:lnTo>
                      <a:pt x="951903" y="1934870"/>
                    </a:lnTo>
                    <a:lnTo>
                      <a:pt x="983246" y="1967293"/>
                    </a:lnTo>
                    <a:lnTo>
                      <a:pt x="1024204" y="1984057"/>
                    </a:lnTo>
                    <a:lnTo>
                      <a:pt x="1047940" y="1986153"/>
                    </a:lnTo>
                    <a:lnTo>
                      <a:pt x="1204353" y="1986153"/>
                    </a:lnTo>
                    <a:lnTo>
                      <a:pt x="1274165" y="1979320"/>
                    </a:lnTo>
                    <a:lnTo>
                      <a:pt x="1339659" y="1958835"/>
                    </a:lnTo>
                    <a:lnTo>
                      <a:pt x="1399540" y="1925929"/>
                    </a:lnTo>
                    <a:lnTo>
                      <a:pt x="1452626" y="1881873"/>
                    </a:lnTo>
                    <a:lnTo>
                      <a:pt x="1483715" y="1848078"/>
                    </a:lnTo>
                    <a:lnTo>
                      <a:pt x="1509166" y="1811248"/>
                    </a:lnTo>
                    <a:lnTo>
                      <a:pt x="1528953" y="1771383"/>
                    </a:lnTo>
                    <a:lnTo>
                      <a:pt x="1543088" y="1728495"/>
                    </a:lnTo>
                    <a:lnTo>
                      <a:pt x="1551571" y="1682559"/>
                    </a:lnTo>
                    <a:lnTo>
                      <a:pt x="1554403" y="1633613"/>
                    </a:lnTo>
                    <a:lnTo>
                      <a:pt x="1554403" y="603300"/>
                    </a:lnTo>
                    <a:close/>
                  </a:path>
                  <a:path w="1554480" h="1986279">
                    <a:moveTo>
                      <a:pt x="1554403" y="219760"/>
                    </a:moveTo>
                    <a:lnTo>
                      <a:pt x="1546021" y="174612"/>
                    </a:lnTo>
                    <a:lnTo>
                      <a:pt x="1520888" y="137439"/>
                    </a:lnTo>
                    <a:lnTo>
                      <a:pt x="1483334" y="112560"/>
                    </a:lnTo>
                    <a:lnTo>
                      <a:pt x="1437716" y="104267"/>
                    </a:lnTo>
                    <a:lnTo>
                      <a:pt x="1413814" y="106349"/>
                    </a:lnTo>
                    <a:lnTo>
                      <a:pt x="1371612" y="122936"/>
                    </a:lnTo>
                    <a:lnTo>
                      <a:pt x="1338084" y="155028"/>
                    </a:lnTo>
                    <a:lnTo>
                      <a:pt x="1320711" y="196202"/>
                    </a:lnTo>
                    <a:lnTo>
                      <a:pt x="1318539" y="219760"/>
                    </a:lnTo>
                    <a:lnTo>
                      <a:pt x="1318539" y="222211"/>
                    </a:lnTo>
                    <a:lnTo>
                      <a:pt x="1327226" y="267677"/>
                    </a:lnTo>
                    <a:lnTo>
                      <a:pt x="1353312" y="305765"/>
                    </a:lnTo>
                    <a:lnTo>
                      <a:pt x="1391780" y="331546"/>
                    </a:lnTo>
                    <a:lnTo>
                      <a:pt x="1437716" y="340131"/>
                    </a:lnTo>
                    <a:lnTo>
                      <a:pt x="1461528" y="337985"/>
                    </a:lnTo>
                    <a:lnTo>
                      <a:pt x="1503121" y="320802"/>
                    </a:lnTo>
                    <a:lnTo>
                      <a:pt x="1535557" y="287642"/>
                    </a:lnTo>
                    <a:lnTo>
                      <a:pt x="1552308" y="245859"/>
                    </a:lnTo>
                    <a:lnTo>
                      <a:pt x="1554403" y="222211"/>
                    </a:lnTo>
                    <a:lnTo>
                      <a:pt x="1554403" y="21976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98" name="object 12"/>
              <p:cNvSpPr>
                <a:spLocks noChangeArrowheads="1"/>
              </p:cNvSpPr>
              <p:nvPr userDrawn="1"/>
            </p:nvSpPr>
            <p:spPr bwMode="auto">
              <a:xfrm>
                <a:off x="13196888" y="7029450"/>
                <a:ext cx="976312" cy="912813"/>
              </a:xfrm>
              <a:custGeom>
                <a:avLst/>
                <a:gdLst>
                  <a:gd name="T0" fmla="*/ 335173 w 975994"/>
                  <a:gd name="T1" fmla="*/ 0 h 913765"/>
                  <a:gd name="T2" fmla="*/ 231116 w 975994"/>
                  <a:gd name="T3" fmla="*/ 13976 h 913765"/>
                  <a:gd name="T4" fmla="*/ 117695 w 975994"/>
                  <a:gd name="T5" fmla="*/ 71851 h 913765"/>
                  <a:gd name="T6" fmla="*/ 38472 w 975994"/>
                  <a:gd name="T7" fmla="*/ 162167 h 913765"/>
                  <a:gd name="T8" fmla="*/ 1549 w 975994"/>
                  <a:gd name="T9" fmla="*/ 274814 h 913765"/>
                  <a:gd name="T10" fmla="*/ 0 w 975994"/>
                  <a:gd name="T11" fmla="*/ 583427 h 913765"/>
                  <a:gd name="T12" fmla="*/ 8383 w 975994"/>
                  <a:gd name="T13" fmla="*/ 664134 h 913765"/>
                  <a:gd name="T14" fmla="*/ 71058 w 975994"/>
                  <a:gd name="T15" fmla="*/ 789184 h 913765"/>
                  <a:gd name="T16" fmla="*/ 168189 w 975994"/>
                  <a:gd name="T17" fmla="*/ 870798 h 913765"/>
                  <a:gd name="T18" fmla="*/ 278664 w 975994"/>
                  <a:gd name="T19" fmla="*/ 908971 h 913765"/>
                  <a:gd name="T20" fmla="*/ 856528 w 975994"/>
                  <a:gd name="T21" fmla="*/ 913626 h 913765"/>
                  <a:gd name="T22" fmla="*/ 940934 w 975994"/>
                  <a:gd name="T23" fmla="*/ 880109 h 913765"/>
                  <a:gd name="T24" fmla="*/ 975698 w 975994"/>
                  <a:gd name="T25" fmla="*/ 796939 h 913765"/>
                  <a:gd name="T26" fmla="*/ 956137 w 975994"/>
                  <a:gd name="T27" fmla="*/ 730848 h 913765"/>
                  <a:gd name="T28" fmla="*/ 880410 w 975994"/>
                  <a:gd name="T29" fmla="*/ 679944 h 913765"/>
                  <a:gd name="T30" fmla="*/ 360286 w 975994"/>
                  <a:gd name="T31" fmla="*/ 675369 h 913765"/>
                  <a:gd name="T32" fmla="*/ 258191 w 975994"/>
                  <a:gd name="T33" fmla="*/ 617030 h 913765"/>
                  <a:gd name="T34" fmla="*/ 235856 w 975994"/>
                  <a:gd name="T35" fmla="*/ 513911 h 913765"/>
                  <a:gd name="T36" fmla="*/ 245468 w 975994"/>
                  <a:gd name="T37" fmla="*/ 318723 h 913765"/>
                  <a:gd name="T38" fmla="*/ 319952 w 975994"/>
                  <a:gd name="T39" fmla="*/ 244864 h 913765"/>
                  <a:gd name="T40" fmla="*/ 692680 w 975994"/>
                  <a:gd name="T41" fmla="*/ 235856 h 913765"/>
                  <a:gd name="T42" fmla="*/ 747286 w 975994"/>
                  <a:gd name="T43" fmla="*/ 296682 h 913765"/>
                  <a:gd name="T44" fmla="*/ 725946 w 975994"/>
                  <a:gd name="T45" fmla="*/ 346817 h 913765"/>
                  <a:gd name="T46" fmla="*/ 407688 w 975994"/>
                  <a:gd name="T47" fmla="*/ 359579 h 913765"/>
                  <a:gd name="T48" fmla="*/ 336319 w 975994"/>
                  <a:gd name="T49" fmla="*/ 407591 h 913765"/>
                  <a:gd name="T50" fmla="*/ 320262 w 975994"/>
                  <a:gd name="T51" fmla="*/ 463022 h 913765"/>
                  <a:gd name="T52" fmla="*/ 336319 w 975994"/>
                  <a:gd name="T53" fmla="*/ 518466 h 913765"/>
                  <a:gd name="T54" fmla="*/ 407688 w 975994"/>
                  <a:gd name="T55" fmla="*/ 566460 h 913765"/>
                  <a:gd name="T56" fmla="*/ 692680 w 975994"/>
                  <a:gd name="T57" fmla="*/ 568527 h 913765"/>
                  <a:gd name="T58" fmla="*/ 782965 w 975994"/>
                  <a:gd name="T59" fmla="*/ 557986 h 913765"/>
                  <a:gd name="T60" fmla="*/ 855282 w 975994"/>
                  <a:gd name="T61" fmla="*/ 526329 h 913765"/>
                  <a:gd name="T62" fmla="*/ 947143 w 975994"/>
                  <a:gd name="T63" fmla="*/ 420814 h 913765"/>
                  <a:gd name="T64" fmla="*/ 970401 w 975994"/>
                  <a:gd name="T65" fmla="*/ 320275 h 913765"/>
                  <a:gd name="T66" fmla="*/ 955516 w 975994"/>
                  <a:gd name="T67" fmla="*/ 213520 h 913765"/>
                  <a:gd name="T68" fmla="*/ 880720 w 975994"/>
                  <a:gd name="T69" fmla="*/ 89694 h 913765"/>
                  <a:gd name="T70" fmla="*/ 819283 w 975994"/>
                  <a:gd name="T71" fmla="*/ 42197 h 913765"/>
                  <a:gd name="T72" fmla="*/ 742935 w 975994"/>
                  <a:gd name="T73" fmla="*/ 10555 h 913765"/>
                  <a:gd name="T74" fmla="*/ 652953 w 975994"/>
                  <a:gd name="T75" fmla="*/ 0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75994" h="913765">
                    <a:moveTo>
                      <a:pt x="652953" y="0"/>
                    </a:moveTo>
                    <a:lnTo>
                      <a:pt x="335173" y="0"/>
                    </a:lnTo>
                    <a:lnTo>
                      <a:pt x="298778" y="1555"/>
                    </a:lnTo>
                    <a:lnTo>
                      <a:pt x="231116" y="13976"/>
                    </a:lnTo>
                    <a:lnTo>
                      <a:pt x="170444" y="38333"/>
                    </a:lnTo>
                    <a:lnTo>
                      <a:pt x="117695" y="71851"/>
                    </a:lnTo>
                    <a:lnTo>
                      <a:pt x="73233" y="113755"/>
                    </a:lnTo>
                    <a:lnTo>
                      <a:pt x="38472" y="162167"/>
                    </a:lnTo>
                    <a:lnTo>
                      <a:pt x="13958" y="216469"/>
                    </a:lnTo>
                    <a:lnTo>
                      <a:pt x="1549" y="274814"/>
                    </a:lnTo>
                    <a:lnTo>
                      <a:pt x="0" y="305372"/>
                    </a:lnTo>
                    <a:lnTo>
                      <a:pt x="0" y="583427"/>
                    </a:lnTo>
                    <a:lnTo>
                      <a:pt x="2096" y="625337"/>
                    </a:lnTo>
                    <a:lnTo>
                      <a:pt x="8383" y="664134"/>
                    </a:lnTo>
                    <a:lnTo>
                      <a:pt x="33517" y="732386"/>
                    </a:lnTo>
                    <a:lnTo>
                      <a:pt x="71058" y="789184"/>
                    </a:lnTo>
                    <a:lnTo>
                      <a:pt x="116687" y="835419"/>
                    </a:lnTo>
                    <a:lnTo>
                      <a:pt x="168189" y="870798"/>
                    </a:lnTo>
                    <a:lnTo>
                      <a:pt x="223438" y="895009"/>
                    </a:lnTo>
                    <a:lnTo>
                      <a:pt x="278664" y="908971"/>
                    </a:lnTo>
                    <a:lnTo>
                      <a:pt x="330199" y="913626"/>
                    </a:lnTo>
                    <a:lnTo>
                      <a:pt x="856528" y="913626"/>
                    </a:lnTo>
                    <a:lnTo>
                      <a:pt x="902438" y="905247"/>
                    </a:lnTo>
                    <a:lnTo>
                      <a:pt x="940934" y="880109"/>
                    </a:lnTo>
                    <a:lnTo>
                      <a:pt x="967001" y="842568"/>
                    </a:lnTo>
                    <a:lnTo>
                      <a:pt x="975698" y="796939"/>
                    </a:lnTo>
                    <a:lnTo>
                      <a:pt x="973523" y="773053"/>
                    </a:lnTo>
                    <a:lnTo>
                      <a:pt x="956137" y="730848"/>
                    </a:lnTo>
                    <a:lnTo>
                      <a:pt x="922613" y="697325"/>
                    </a:lnTo>
                    <a:lnTo>
                      <a:pt x="880410" y="679944"/>
                    </a:lnTo>
                    <a:lnTo>
                      <a:pt x="399705" y="677769"/>
                    </a:lnTo>
                    <a:lnTo>
                      <a:pt x="360286" y="675369"/>
                    </a:lnTo>
                    <a:lnTo>
                      <a:pt x="298216" y="656137"/>
                    </a:lnTo>
                    <a:lnTo>
                      <a:pt x="258191" y="617030"/>
                    </a:lnTo>
                    <a:lnTo>
                      <a:pt x="238336" y="554345"/>
                    </a:lnTo>
                    <a:lnTo>
                      <a:pt x="235856" y="513911"/>
                    </a:lnTo>
                    <a:lnTo>
                      <a:pt x="235856" y="387297"/>
                    </a:lnTo>
                    <a:lnTo>
                      <a:pt x="245468" y="318723"/>
                    </a:lnTo>
                    <a:lnTo>
                      <a:pt x="274337" y="271855"/>
                    </a:lnTo>
                    <a:lnTo>
                      <a:pt x="319952" y="244864"/>
                    </a:lnTo>
                    <a:lnTo>
                      <a:pt x="379852" y="235856"/>
                    </a:lnTo>
                    <a:lnTo>
                      <a:pt x="692680" y="235856"/>
                    </a:lnTo>
                    <a:lnTo>
                      <a:pt x="733632" y="254850"/>
                    </a:lnTo>
                    <a:lnTo>
                      <a:pt x="747286" y="296682"/>
                    </a:lnTo>
                    <a:lnTo>
                      <a:pt x="746429" y="307850"/>
                    </a:lnTo>
                    <a:lnTo>
                      <a:pt x="725946" y="346817"/>
                    </a:lnTo>
                    <a:lnTo>
                      <a:pt x="434468" y="357507"/>
                    </a:lnTo>
                    <a:lnTo>
                      <a:pt x="407688" y="359579"/>
                    </a:lnTo>
                    <a:lnTo>
                      <a:pt x="364864" y="376144"/>
                    </a:lnTo>
                    <a:lnTo>
                      <a:pt x="336319" y="407591"/>
                    </a:lnTo>
                    <a:lnTo>
                      <a:pt x="322045" y="443790"/>
                    </a:lnTo>
                    <a:lnTo>
                      <a:pt x="320262" y="463022"/>
                    </a:lnTo>
                    <a:lnTo>
                      <a:pt x="322045" y="482272"/>
                    </a:lnTo>
                    <a:lnTo>
                      <a:pt x="336319" y="518466"/>
                    </a:lnTo>
                    <a:lnTo>
                      <a:pt x="364864" y="549907"/>
                    </a:lnTo>
                    <a:lnTo>
                      <a:pt x="407688" y="566460"/>
                    </a:lnTo>
                    <a:lnTo>
                      <a:pt x="434468" y="568527"/>
                    </a:lnTo>
                    <a:lnTo>
                      <a:pt x="692680" y="568527"/>
                    </a:lnTo>
                    <a:lnTo>
                      <a:pt x="740065" y="565893"/>
                    </a:lnTo>
                    <a:lnTo>
                      <a:pt x="782965" y="557986"/>
                    </a:lnTo>
                    <a:lnTo>
                      <a:pt x="821374" y="544801"/>
                    </a:lnTo>
                    <a:lnTo>
                      <a:pt x="855282" y="526329"/>
                    </a:lnTo>
                    <a:lnTo>
                      <a:pt x="909895" y="478853"/>
                    </a:lnTo>
                    <a:lnTo>
                      <a:pt x="947143" y="420814"/>
                    </a:lnTo>
                    <a:lnTo>
                      <a:pt x="966982" y="355029"/>
                    </a:lnTo>
                    <a:lnTo>
                      <a:pt x="970401" y="320275"/>
                    </a:lnTo>
                    <a:lnTo>
                      <a:pt x="969488" y="284274"/>
                    </a:lnTo>
                    <a:lnTo>
                      <a:pt x="955516" y="213520"/>
                    </a:lnTo>
                    <a:lnTo>
                      <a:pt x="926034" y="147723"/>
                    </a:lnTo>
                    <a:lnTo>
                      <a:pt x="880720" y="89694"/>
                    </a:lnTo>
                    <a:lnTo>
                      <a:pt x="852015" y="64633"/>
                    </a:lnTo>
                    <a:lnTo>
                      <a:pt x="819283" y="42197"/>
                    </a:lnTo>
                    <a:lnTo>
                      <a:pt x="782813" y="23743"/>
                    </a:lnTo>
                    <a:lnTo>
                      <a:pt x="742935" y="10555"/>
                    </a:lnTo>
                    <a:lnTo>
                      <a:pt x="699648" y="2639"/>
                    </a:lnTo>
                    <a:lnTo>
                      <a:pt x="652953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直接连接符 7"/>
          <p:cNvCxnSpPr/>
          <p:nvPr userDrawn="1"/>
        </p:nvCxnSpPr>
        <p:spPr>
          <a:xfrm>
            <a:off x="325120" y="1036320"/>
            <a:ext cx="11531600" cy="0"/>
          </a:xfrm>
          <a:prstGeom prst="line">
            <a:avLst/>
          </a:prstGeom>
          <a:ln w="28575">
            <a:solidFill>
              <a:srgbClr val="0288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340360" y="487045"/>
            <a:ext cx="10515600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idx="1"/>
          </p:nvPr>
        </p:nvSpPr>
        <p:spPr>
          <a:xfrm>
            <a:off x="838200" y="1216025"/>
            <a:ext cx="10515600" cy="3695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37" name="组合 36"/>
          <p:cNvGrpSpPr/>
          <p:nvPr userDrawn="1"/>
        </p:nvGrpSpPr>
        <p:grpSpPr>
          <a:xfrm>
            <a:off x="10484732" y="487044"/>
            <a:ext cx="1371987" cy="505967"/>
            <a:chOff x="8416113" y="2173527"/>
            <a:chExt cx="2609343" cy="962284"/>
          </a:xfrm>
        </p:grpSpPr>
        <p:sp>
          <p:nvSpPr>
            <p:cNvPr id="38" name="object 56"/>
            <p:cNvSpPr>
              <a:spLocks noChangeArrowheads="1"/>
            </p:cNvSpPr>
            <p:nvPr userDrawn="1"/>
          </p:nvSpPr>
          <p:spPr bwMode="auto">
            <a:xfrm>
              <a:off x="9592223" y="2173527"/>
              <a:ext cx="10347" cy="962284"/>
            </a:xfrm>
            <a:custGeom>
              <a:avLst/>
              <a:gdLst>
                <a:gd name="T0" fmla="*/ 11591 w 12065"/>
                <a:gd name="T1" fmla="*/ 0 h 1180465"/>
                <a:gd name="T2" fmla="*/ 0 w 12065"/>
                <a:gd name="T3" fmla="*/ 0 h 1180465"/>
                <a:gd name="T4" fmla="*/ 0 w 12065"/>
                <a:gd name="T5" fmla="*/ 1180131 h 1180465"/>
                <a:gd name="T6" fmla="*/ 11591 w 12065"/>
                <a:gd name="T7" fmla="*/ 1180131 h 1180465"/>
                <a:gd name="T8" fmla="*/ 11591 w 12065"/>
                <a:gd name="T9" fmla="*/ 0 h 1180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65" h="1180465">
                  <a:moveTo>
                    <a:pt x="11591" y="0"/>
                  </a:moveTo>
                  <a:lnTo>
                    <a:pt x="0" y="0"/>
                  </a:lnTo>
                  <a:lnTo>
                    <a:pt x="0" y="1180131"/>
                  </a:lnTo>
                  <a:lnTo>
                    <a:pt x="11591" y="1180131"/>
                  </a:lnTo>
                  <a:lnTo>
                    <a:pt x="11591" y="0"/>
                  </a:lnTo>
                  <a:close/>
                </a:path>
              </a:pathLst>
            </a:custGeom>
            <a:solidFill>
              <a:srgbClr val="6C6C6C"/>
            </a:solidFill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39" name="组合 38"/>
            <p:cNvGrpSpPr/>
            <p:nvPr userDrawn="1"/>
          </p:nvGrpSpPr>
          <p:grpSpPr>
            <a:xfrm>
              <a:off x="9799320" y="2181287"/>
              <a:ext cx="1226136" cy="946763"/>
              <a:chOff x="3252153" y="2959418"/>
              <a:chExt cx="1504950" cy="1162050"/>
            </a:xfrm>
          </p:grpSpPr>
          <p:grpSp>
            <p:nvGrpSpPr>
              <p:cNvPr id="52" name="object 57"/>
              <p:cNvGrpSpPr/>
              <p:nvPr userDrawn="1"/>
            </p:nvGrpSpPr>
            <p:grpSpPr bwMode="auto">
              <a:xfrm>
                <a:off x="3255328" y="4003993"/>
                <a:ext cx="1477962" cy="117475"/>
                <a:chOff x="9666427" y="7834490"/>
                <a:chExt cx="1477645" cy="116839"/>
              </a:xfrm>
            </p:grpSpPr>
            <p:pic>
              <p:nvPicPr>
                <p:cNvPr id="70" name="object 58"/>
                <p:cNvPicPr>
                  <a:picLocks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731655" y="7836230"/>
                  <a:ext cx="104426" cy="1123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1" name="object 59"/>
                <p:cNvSpPr>
                  <a:spLocks noChangeArrowheads="1"/>
                </p:cNvSpPr>
                <p:nvPr/>
              </p:nvSpPr>
              <p:spPr bwMode="auto">
                <a:xfrm>
                  <a:off x="10002407" y="7889309"/>
                  <a:ext cx="43815" cy="19685"/>
                </a:xfrm>
                <a:custGeom>
                  <a:avLst/>
                  <a:gdLst>
                    <a:gd name="T0" fmla="*/ 43464 w 43815"/>
                    <a:gd name="T1" fmla="*/ 0 h 19684"/>
                    <a:gd name="T2" fmla="*/ 0 w 43815"/>
                    <a:gd name="T3" fmla="*/ 0 h 19684"/>
                    <a:gd name="T4" fmla="*/ 0 w 43815"/>
                    <a:gd name="T5" fmla="*/ 19266 h 19684"/>
                    <a:gd name="T6" fmla="*/ 43464 w 43815"/>
                    <a:gd name="T7" fmla="*/ 19266 h 19684"/>
                    <a:gd name="T8" fmla="*/ 43464 w 43815"/>
                    <a:gd name="T9" fmla="*/ 0 h 19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815" h="19684">
                      <a:moveTo>
                        <a:pt x="43464" y="0"/>
                      </a:moveTo>
                      <a:lnTo>
                        <a:pt x="0" y="0"/>
                      </a:lnTo>
                      <a:lnTo>
                        <a:pt x="0" y="19266"/>
                      </a:lnTo>
                      <a:lnTo>
                        <a:pt x="43464" y="19266"/>
                      </a:lnTo>
                      <a:lnTo>
                        <a:pt x="43464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72" name="object 60"/>
                <p:cNvPicPr>
                  <a:picLocks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065354" y="7835727"/>
                  <a:ext cx="222169" cy="1150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3" name="object 61"/>
                <p:cNvSpPr>
                  <a:spLocks noChangeArrowheads="1"/>
                </p:cNvSpPr>
                <p:nvPr/>
              </p:nvSpPr>
              <p:spPr bwMode="auto">
                <a:xfrm>
                  <a:off x="10313721" y="7836960"/>
                  <a:ext cx="58419" cy="111760"/>
                </a:xfrm>
                <a:custGeom>
                  <a:avLst/>
                  <a:gdLst>
                    <a:gd name="T0" fmla="*/ 57975 w 58420"/>
                    <a:gd name="T1" fmla="*/ 92710 h 111759"/>
                    <a:gd name="T2" fmla="*/ 21450 w 58420"/>
                    <a:gd name="T3" fmla="*/ 92710 h 111759"/>
                    <a:gd name="T4" fmla="*/ 21450 w 58420"/>
                    <a:gd name="T5" fmla="*/ 0 h 111759"/>
                    <a:gd name="T6" fmla="*/ 0 w 58420"/>
                    <a:gd name="T7" fmla="*/ 0 h 111759"/>
                    <a:gd name="T8" fmla="*/ 0 w 58420"/>
                    <a:gd name="T9" fmla="*/ 92710 h 111759"/>
                    <a:gd name="T10" fmla="*/ 0 w 58420"/>
                    <a:gd name="T11" fmla="*/ 111760 h 111759"/>
                    <a:gd name="T12" fmla="*/ 57975 w 58420"/>
                    <a:gd name="T13" fmla="*/ 111760 h 111759"/>
                    <a:gd name="T14" fmla="*/ 57975 w 58420"/>
                    <a:gd name="T15" fmla="*/ 92710 h 111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420" h="111759">
                      <a:moveTo>
                        <a:pt x="57975" y="92710"/>
                      </a:moveTo>
                      <a:lnTo>
                        <a:pt x="21450" y="92710"/>
                      </a:lnTo>
                      <a:lnTo>
                        <a:pt x="21450" y="0"/>
                      </a:lnTo>
                      <a:lnTo>
                        <a:pt x="0" y="0"/>
                      </a:lnTo>
                      <a:lnTo>
                        <a:pt x="0" y="92710"/>
                      </a:lnTo>
                      <a:lnTo>
                        <a:pt x="0" y="111760"/>
                      </a:lnTo>
                      <a:lnTo>
                        <a:pt x="57975" y="111760"/>
                      </a:lnTo>
                      <a:lnTo>
                        <a:pt x="57975" y="9271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74" name="object 62"/>
                <p:cNvPicPr>
                  <a:picLocks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394926" y="7834992"/>
                  <a:ext cx="334506" cy="1162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" name="object 63"/>
                <p:cNvPicPr>
                  <a:picLocks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44226" y="7834490"/>
                  <a:ext cx="95033" cy="11625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6" name="object 64"/>
                <p:cNvSpPr>
                  <a:spLocks noChangeArrowheads="1"/>
                </p:cNvSpPr>
                <p:nvPr/>
              </p:nvSpPr>
              <p:spPr bwMode="auto">
                <a:xfrm>
                  <a:off x="10966421" y="7836226"/>
                  <a:ext cx="61594" cy="112395"/>
                </a:xfrm>
                <a:custGeom>
                  <a:avLst/>
                  <a:gdLst>
                    <a:gd name="T0" fmla="*/ 60971 w 61595"/>
                    <a:gd name="T1" fmla="*/ 0 h 112395"/>
                    <a:gd name="T2" fmla="*/ 0 w 61595"/>
                    <a:gd name="T3" fmla="*/ 0 h 112395"/>
                    <a:gd name="T4" fmla="*/ 0 w 61595"/>
                    <a:gd name="T5" fmla="*/ 112321 h 112395"/>
                    <a:gd name="T6" fmla="*/ 60971 w 61595"/>
                    <a:gd name="T7" fmla="*/ 112321 h 112395"/>
                    <a:gd name="T8" fmla="*/ 60971 w 61595"/>
                    <a:gd name="T9" fmla="*/ 93808 h 112395"/>
                    <a:gd name="T10" fmla="*/ 21727 w 61595"/>
                    <a:gd name="T11" fmla="*/ 93808 h 112395"/>
                    <a:gd name="T12" fmla="*/ 21727 w 61595"/>
                    <a:gd name="T13" fmla="*/ 63453 h 112395"/>
                    <a:gd name="T14" fmla="*/ 59013 w 61595"/>
                    <a:gd name="T15" fmla="*/ 63453 h 112395"/>
                    <a:gd name="T16" fmla="*/ 59013 w 61595"/>
                    <a:gd name="T17" fmla="*/ 45663 h 112395"/>
                    <a:gd name="T18" fmla="*/ 21727 w 61595"/>
                    <a:gd name="T19" fmla="*/ 45663 h 112395"/>
                    <a:gd name="T20" fmla="*/ 21727 w 61595"/>
                    <a:gd name="T21" fmla="*/ 18271 h 112395"/>
                    <a:gd name="T22" fmla="*/ 60971 w 61595"/>
                    <a:gd name="T23" fmla="*/ 18271 h 112395"/>
                    <a:gd name="T24" fmla="*/ 60971 w 61595"/>
                    <a:gd name="T2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1595" h="112395">
                      <a:moveTo>
                        <a:pt x="60971" y="0"/>
                      </a:moveTo>
                      <a:lnTo>
                        <a:pt x="0" y="0"/>
                      </a:lnTo>
                      <a:lnTo>
                        <a:pt x="0" y="112321"/>
                      </a:lnTo>
                      <a:lnTo>
                        <a:pt x="60971" y="112321"/>
                      </a:lnTo>
                      <a:lnTo>
                        <a:pt x="60971" y="93808"/>
                      </a:lnTo>
                      <a:lnTo>
                        <a:pt x="21727" y="93808"/>
                      </a:lnTo>
                      <a:lnTo>
                        <a:pt x="21727" y="63453"/>
                      </a:lnTo>
                      <a:lnTo>
                        <a:pt x="59013" y="63453"/>
                      </a:lnTo>
                      <a:lnTo>
                        <a:pt x="59013" y="45663"/>
                      </a:lnTo>
                      <a:lnTo>
                        <a:pt x="21727" y="45663"/>
                      </a:lnTo>
                      <a:lnTo>
                        <a:pt x="21727" y="18271"/>
                      </a:lnTo>
                      <a:lnTo>
                        <a:pt x="60971" y="18271"/>
                      </a:lnTo>
                      <a:lnTo>
                        <a:pt x="60971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77" name="object 65"/>
                <p:cNvPicPr>
                  <a:picLocks noChangeArrowheads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051085" y="7836233"/>
                  <a:ext cx="92845" cy="1123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8" name="object 66"/>
                <p:cNvSpPr>
                  <a:spLocks noChangeArrowheads="1"/>
                </p:cNvSpPr>
                <p:nvPr/>
              </p:nvSpPr>
              <p:spPr bwMode="auto">
                <a:xfrm>
                  <a:off x="9666414" y="7836960"/>
                  <a:ext cx="318770" cy="112395"/>
                </a:xfrm>
                <a:custGeom>
                  <a:avLst/>
                  <a:gdLst>
                    <a:gd name="T0" fmla="*/ 57785 w 318770"/>
                    <a:gd name="T1" fmla="*/ 0 h 112395"/>
                    <a:gd name="T2" fmla="*/ 0 w 318770"/>
                    <a:gd name="T3" fmla="*/ 0 h 112395"/>
                    <a:gd name="T4" fmla="*/ 0 w 318770"/>
                    <a:gd name="T5" fmla="*/ 112331 h 112395"/>
                    <a:gd name="T6" fmla="*/ 22212 w 318770"/>
                    <a:gd name="T7" fmla="*/ 112331 h 112395"/>
                    <a:gd name="T8" fmla="*/ 22212 w 318770"/>
                    <a:gd name="T9" fmla="*/ 65913 h 112395"/>
                    <a:gd name="T10" fmla="*/ 57785 w 318770"/>
                    <a:gd name="T11" fmla="*/ 65913 h 112395"/>
                    <a:gd name="T12" fmla="*/ 57785 w 318770"/>
                    <a:gd name="T13" fmla="*/ 44691 h 112395"/>
                    <a:gd name="T14" fmla="*/ 22212 w 318770"/>
                    <a:gd name="T15" fmla="*/ 44691 h 112395"/>
                    <a:gd name="T16" fmla="*/ 22212 w 318770"/>
                    <a:gd name="T17" fmla="*/ 21247 h 112395"/>
                    <a:gd name="T18" fmla="*/ 57785 w 318770"/>
                    <a:gd name="T19" fmla="*/ 21247 h 112395"/>
                    <a:gd name="T20" fmla="*/ 57785 w 318770"/>
                    <a:gd name="T21" fmla="*/ 0 h 112395"/>
                    <a:gd name="T22" fmla="*/ 176022 w 318770"/>
                    <a:gd name="T23" fmla="*/ 112344 h 112395"/>
                    <a:gd name="T24" fmla="*/ 167894 w 318770"/>
                    <a:gd name="T25" fmla="*/ 89623 h 112395"/>
                    <a:gd name="T26" fmla="*/ 160642 w 318770"/>
                    <a:gd name="T27" fmla="*/ 69380 h 112395"/>
                    <a:gd name="T28" fmla="*/ 144729 w 318770"/>
                    <a:gd name="T29" fmla="*/ 24942 h 112395"/>
                    <a:gd name="T30" fmla="*/ 138506 w 318770"/>
                    <a:gd name="T31" fmla="*/ 7569 h 112395"/>
                    <a:gd name="T32" fmla="*/ 138506 w 318770"/>
                    <a:gd name="T33" fmla="*/ 69380 h 112395"/>
                    <a:gd name="T34" fmla="*/ 109359 w 318770"/>
                    <a:gd name="T35" fmla="*/ 69380 h 112395"/>
                    <a:gd name="T36" fmla="*/ 123926 w 318770"/>
                    <a:gd name="T37" fmla="*/ 24942 h 112395"/>
                    <a:gd name="T38" fmla="*/ 138506 w 318770"/>
                    <a:gd name="T39" fmla="*/ 69380 h 112395"/>
                    <a:gd name="T40" fmla="*/ 138506 w 318770"/>
                    <a:gd name="T41" fmla="*/ 7569 h 112395"/>
                    <a:gd name="T42" fmla="*/ 135801 w 318770"/>
                    <a:gd name="T43" fmla="*/ 12 h 112395"/>
                    <a:gd name="T44" fmla="*/ 112090 w 318770"/>
                    <a:gd name="T45" fmla="*/ 12 h 112395"/>
                    <a:gd name="T46" fmla="*/ 71589 w 318770"/>
                    <a:gd name="T47" fmla="*/ 112344 h 112395"/>
                    <a:gd name="T48" fmla="*/ 95529 w 318770"/>
                    <a:gd name="T49" fmla="*/ 112344 h 112395"/>
                    <a:gd name="T50" fmla="*/ 102946 w 318770"/>
                    <a:gd name="T51" fmla="*/ 89623 h 112395"/>
                    <a:gd name="T52" fmla="*/ 144932 w 318770"/>
                    <a:gd name="T53" fmla="*/ 89623 h 112395"/>
                    <a:gd name="T54" fmla="*/ 152069 w 318770"/>
                    <a:gd name="T55" fmla="*/ 112344 h 112395"/>
                    <a:gd name="T56" fmla="*/ 176022 w 318770"/>
                    <a:gd name="T57" fmla="*/ 112344 h 112395"/>
                    <a:gd name="T58" fmla="*/ 318223 w 318770"/>
                    <a:gd name="T59" fmla="*/ 0 h 112395"/>
                    <a:gd name="T60" fmla="*/ 296735 w 318770"/>
                    <a:gd name="T61" fmla="*/ 0 h 112395"/>
                    <a:gd name="T62" fmla="*/ 276999 w 318770"/>
                    <a:gd name="T63" fmla="*/ 78511 h 112395"/>
                    <a:gd name="T64" fmla="*/ 260451 w 318770"/>
                    <a:gd name="T65" fmla="*/ 0 h 112395"/>
                    <a:gd name="T66" fmla="*/ 235762 w 318770"/>
                    <a:gd name="T67" fmla="*/ 0 h 112395"/>
                    <a:gd name="T68" fmla="*/ 218973 w 318770"/>
                    <a:gd name="T69" fmla="*/ 78511 h 112395"/>
                    <a:gd name="T70" fmla="*/ 199224 w 318770"/>
                    <a:gd name="T71" fmla="*/ 0 h 112395"/>
                    <a:gd name="T72" fmla="*/ 177736 w 318770"/>
                    <a:gd name="T73" fmla="*/ 0 h 112395"/>
                    <a:gd name="T74" fmla="*/ 207124 w 318770"/>
                    <a:gd name="T75" fmla="*/ 112331 h 112395"/>
                    <a:gd name="T76" fmla="*/ 232308 w 318770"/>
                    <a:gd name="T77" fmla="*/ 112331 h 112395"/>
                    <a:gd name="T78" fmla="*/ 248094 w 318770"/>
                    <a:gd name="T79" fmla="*/ 35560 h 112395"/>
                    <a:gd name="T80" fmla="*/ 263906 w 318770"/>
                    <a:gd name="T81" fmla="*/ 112331 h 112395"/>
                    <a:gd name="T82" fmla="*/ 288836 w 318770"/>
                    <a:gd name="T83" fmla="*/ 112331 h 112395"/>
                    <a:gd name="T84" fmla="*/ 318223 w 318770"/>
                    <a:gd name="T85" fmla="*/ 0 h 112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318770" h="112395">
                      <a:moveTo>
                        <a:pt x="57785" y="0"/>
                      </a:moveTo>
                      <a:lnTo>
                        <a:pt x="0" y="0"/>
                      </a:lnTo>
                      <a:lnTo>
                        <a:pt x="0" y="112331"/>
                      </a:lnTo>
                      <a:lnTo>
                        <a:pt x="22212" y="112331"/>
                      </a:lnTo>
                      <a:lnTo>
                        <a:pt x="22212" y="65913"/>
                      </a:lnTo>
                      <a:lnTo>
                        <a:pt x="57785" y="65913"/>
                      </a:lnTo>
                      <a:lnTo>
                        <a:pt x="57785" y="44691"/>
                      </a:lnTo>
                      <a:lnTo>
                        <a:pt x="22212" y="44691"/>
                      </a:lnTo>
                      <a:lnTo>
                        <a:pt x="22212" y="21247"/>
                      </a:lnTo>
                      <a:lnTo>
                        <a:pt x="57785" y="21247"/>
                      </a:lnTo>
                      <a:lnTo>
                        <a:pt x="57785" y="0"/>
                      </a:lnTo>
                      <a:close/>
                    </a:path>
                    <a:path w="318770" h="112395">
                      <a:moveTo>
                        <a:pt x="176022" y="112344"/>
                      </a:moveTo>
                      <a:lnTo>
                        <a:pt x="167894" y="89623"/>
                      </a:lnTo>
                      <a:lnTo>
                        <a:pt x="160642" y="69380"/>
                      </a:lnTo>
                      <a:lnTo>
                        <a:pt x="144729" y="24942"/>
                      </a:lnTo>
                      <a:lnTo>
                        <a:pt x="138506" y="7569"/>
                      </a:lnTo>
                      <a:lnTo>
                        <a:pt x="138506" y="69380"/>
                      </a:lnTo>
                      <a:lnTo>
                        <a:pt x="109359" y="69380"/>
                      </a:lnTo>
                      <a:lnTo>
                        <a:pt x="123926" y="24942"/>
                      </a:lnTo>
                      <a:lnTo>
                        <a:pt x="138506" y="69380"/>
                      </a:lnTo>
                      <a:lnTo>
                        <a:pt x="138506" y="7569"/>
                      </a:lnTo>
                      <a:lnTo>
                        <a:pt x="135801" y="12"/>
                      </a:lnTo>
                      <a:lnTo>
                        <a:pt x="112090" y="12"/>
                      </a:lnTo>
                      <a:lnTo>
                        <a:pt x="71589" y="112344"/>
                      </a:lnTo>
                      <a:lnTo>
                        <a:pt x="95529" y="112344"/>
                      </a:lnTo>
                      <a:lnTo>
                        <a:pt x="102946" y="89623"/>
                      </a:lnTo>
                      <a:lnTo>
                        <a:pt x="144932" y="89623"/>
                      </a:lnTo>
                      <a:lnTo>
                        <a:pt x="152069" y="112344"/>
                      </a:lnTo>
                      <a:lnTo>
                        <a:pt x="176022" y="112344"/>
                      </a:lnTo>
                      <a:close/>
                    </a:path>
                    <a:path w="318770" h="112395">
                      <a:moveTo>
                        <a:pt x="318223" y="0"/>
                      </a:moveTo>
                      <a:lnTo>
                        <a:pt x="296735" y="0"/>
                      </a:lnTo>
                      <a:lnTo>
                        <a:pt x="276999" y="78511"/>
                      </a:lnTo>
                      <a:lnTo>
                        <a:pt x="260451" y="0"/>
                      </a:lnTo>
                      <a:lnTo>
                        <a:pt x="235762" y="0"/>
                      </a:lnTo>
                      <a:lnTo>
                        <a:pt x="218973" y="78511"/>
                      </a:lnTo>
                      <a:lnTo>
                        <a:pt x="199224" y="0"/>
                      </a:lnTo>
                      <a:lnTo>
                        <a:pt x="177736" y="0"/>
                      </a:lnTo>
                      <a:lnTo>
                        <a:pt x="207124" y="112331"/>
                      </a:lnTo>
                      <a:lnTo>
                        <a:pt x="232308" y="112331"/>
                      </a:lnTo>
                      <a:lnTo>
                        <a:pt x="248094" y="35560"/>
                      </a:lnTo>
                      <a:lnTo>
                        <a:pt x="263906" y="112331"/>
                      </a:lnTo>
                      <a:lnTo>
                        <a:pt x="288836" y="112331"/>
                      </a:lnTo>
                      <a:lnTo>
                        <a:pt x="318223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grpSp>
            <p:nvGrpSpPr>
              <p:cNvPr id="53" name="object 67"/>
              <p:cNvGrpSpPr/>
              <p:nvPr userDrawn="1"/>
            </p:nvGrpSpPr>
            <p:grpSpPr bwMode="auto">
              <a:xfrm>
                <a:off x="3255328" y="3664268"/>
                <a:ext cx="1479550" cy="282575"/>
                <a:chOff x="9666940" y="7495307"/>
                <a:chExt cx="1479550" cy="281940"/>
              </a:xfrm>
            </p:grpSpPr>
            <p:sp>
              <p:nvSpPr>
                <p:cNvPr id="60" name="object 68"/>
                <p:cNvSpPr>
                  <a:spLocks noChangeArrowheads="1"/>
                </p:cNvSpPr>
                <p:nvPr/>
              </p:nvSpPr>
              <p:spPr bwMode="auto">
                <a:xfrm>
                  <a:off x="9666935" y="7603940"/>
                  <a:ext cx="763270" cy="50165"/>
                </a:xfrm>
                <a:custGeom>
                  <a:avLst/>
                  <a:gdLst>
                    <a:gd name="T0" fmla="*/ 270040 w 763270"/>
                    <a:gd name="T1" fmla="*/ 977 h 50165"/>
                    <a:gd name="T2" fmla="*/ 0 w 763270"/>
                    <a:gd name="T3" fmla="*/ 977 h 50165"/>
                    <a:gd name="T4" fmla="*/ 0 w 763270"/>
                    <a:gd name="T5" fmla="*/ 49606 h 50165"/>
                    <a:gd name="T6" fmla="*/ 270040 w 763270"/>
                    <a:gd name="T7" fmla="*/ 49606 h 50165"/>
                    <a:gd name="T8" fmla="*/ 270040 w 763270"/>
                    <a:gd name="T9" fmla="*/ 977 h 50165"/>
                    <a:gd name="T10" fmla="*/ 762787 w 763270"/>
                    <a:gd name="T11" fmla="*/ 0 h 50165"/>
                    <a:gd name="T12" fmla="*/ 665772 w 763270"/>
                    <a:gd name="T13" fmla="*/ 0 h 50165"/>
                    <a:gd name="T14" fmla="*/ 665772 w 763270"/>
                    <a:gd name="T15" fmla="*/ 46405 h 50165"/>
                    <a:gd name="T16" fmla="*/ 762787 w 763270"/>
                    <a:gd name="T17" fmla="*/ 46405 h 50165"/>
                    <a:gd name="T18" fmla="*/ 762787 w 763270"/>
                    <a:gd name="T19" fmla="*/ 0 h 50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63270" h="50165">
                      <a:moveTo>
                        <a:pt x="270040" y="977"/>
                      </a:moveTo>
                      <a:lnTo>
                        <a:pt x="0" y="977"/>
                      </a:lnTo>
                      <a:lnTo>
                        <a:pt x="0" y="49606"/>
                      </a:lnTo>
                      <a:lnTo>
                        <a:pt x="270040" y="49606"/>
                      </a:lnTo>
                      <a:lnTo>
                        <a:pt x="270040" y="977"/>
                      </a:lnTo>
                      <a:close/>
                    </a:path>
                    <a:path w="763270" h="50165">
                      <a:moveTo>
                        <a:pt x="762787" y="0"/>
                      </a:moveTo>
                      <a:lnTo>
                        <a:pt x="665772" y="0"/>
                      </a:lnTo>
                      <a:lnTo>
                        <a:pt x="665772" y="46405"/>
                      </a:lnTo>
                      <a:lnTo>
                        <a:pt x="762787" y="46405"/>
                      </a:lnTo>
                      <a:lnTo>
                        <a:pt x="762787" y="0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66" name="object 69"/>
                <p:cNvPicPr>
                  <a:picLocks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977469" y="7495307"/>
                  <a:ext cx="312532" cy="2814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8" name="object 70"/>
                <p:cNvPicPr>
                  <a:picLocks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20519" y="7617008"/>
                  <a:ext cx="325636" cy="1597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9" name="object 71"/>
                <p:cNvSpPr>
                  <a:spLocks noChangeArrowheads="1"/>
                </p:cNvSpPr>
                <p:nvPr/>
              </p:nvSpPr>
              <p:spPr bwMode="auto">
                <a:xfrm>
                  <a:off x="10464304" y="7495799"/>
                  <a:ext cx="675005" cy="281305"/>
                </a:xfrm>
                <a:custGeom>
                  <a:avLst/>
                  <a:gdLst>
                    <a:gd name="T0" fmla="*/ 313512 w 675004"/>
                    <a:gd name="T1" fmla="*/ 238721 h 281304"/>
                    <a:gd name="T2" fmla="*/ 304380 w 675004"/>
                    <a:gd name="T3" fmla="*/ 238721 h 281304"/>
                    <a:gd name="T4" fmla="*/ 295198 w 675004"/>
                    <a:gd name="T5" fmla="*/ 237807 h 281304"/>
                    <a:gd name="T6" fmla="*/ 288391 w 675004"/>
                    <a:gd name="T7" fmla="*/ 234873 h 281304"/>
                    <a:gd name="T8" fmla="*/ 282778 w 675004"/>
                    <a:gd name="T9" fmla="*/ 229666 h 281304"/>
                    <a:gd name="T10" fmla="*/ 277202 w 675004"/>
                    <a:gd name="T11" fmla="*/ 221932 h 281304"/>
                    <a:gd name="T12" fmla="*/ 196989 w 675004"/>
                    <a:gd name="T13" fmla="*/ 86906 h 281304"/>
                    <a:gd name="T14" fmla="*/ 312521 w 675004"/>
                    <a:gd name="T15" fmla="*/ 86906 h 281304"/>
                    <a:gd name="T16" fmla="*/ 312521 w 675004"/>
                    <a:gd name="T17" fmla="*/ 40487 h 281304"/>
                    <a:gd name="T18" fmla="*/ 186118 w 675004"/>
                    <a:gd name="T19" fmla="*/ 40487 h 281304"/>
                    <a:gd name="T20" fmla="*/ 186118 w 675004"/>
                    <a:gd name="T21" fmla="*/ 0 h 281304"/>
                    <a:gd name="T22" fmla="*/ 126873 w 675004"/>
                    <a:gd name="T23" fmla="*/ 0 h 281304"/>
                    <a:gd name="T24" fmla="*/ 126873 w 675004"/>
                    <a:gd name="T25" fmla="*/ 40487 h 281304"/>
                    <a:gd name="T26" fmla="*/ 965 w 675004"/>
                    <a:gd name="T27" fmla="*/ 40487 h 281304"/>
                    <a:gd name="T28" fmla="*/ 965 w 675004"/>
                    <a:gd name="T29" fmla="*/ 86906 h 281304"/>
                    <a:gd name="T30" fmla="*/ 116522 w 675004"/>
                    <a:gd name="T31" fmla="*/ 86906 h 281304"/>
                    <a:gd name="T32" fmla="*/ 36258 w 675004"/>
                    <a:gd name="T33" fmla="*/ 221932 h 281304"/>
                    <a:gd name="T34" fmla="*/ 30480 w 675004"/>
                    <a:gd name="T35" fmla="*/ 229666 h 281304"/>
                    <a:gd name="T36" fmla="*/ 24396 w 675004"/>
                    <a:gd name="T37" fmla="*/ 234873 h 281304"/>
                    <a:gd name="T38" fmla="*/ 17157 w 675004"/>
                    <a:gd name="T39" fmla="*/ 237807 h 281304"/>
                    <a:gd name="T40" fmla="*/ 7899 w 675004"/>
                    <a:gd name="T41" fmla="*/ 238721 h 281304"/>
                    <a:gd name="T42" fmla="*/ 0 w 675004"/>
                    <a:gd name="T43" fmla="*/ 238721 h 281304"/>
                    <a:gd name="T44" fmla="*/ 0 w 675004"/>
                    <a:gd name="T45" fmla="*/ 280936 h 281304"/>
                    <a:gd name="T46" fmla="*/ 22707 w 675004"/>
                    <a:gd name="T47" fmla="*/ 280936 h 281304"/>
                    <a:gd name="T48" fmla="*/ 42532 w 675004"/>
                    <a:gd name="T49" fmla="*/ 280479 h 281304"/>
                    <a:gd name="T50" fmla="*/ 57848 w 675004"/>
                    <a:gd name="T51" fmla="*/ 277317 h 281304"/>
                    <a:gd name="T52" fmla="*/ 70713 w 675004"/>
                    <a:gd name="T53" fmla="*/ 268744 h 281304"/>
                    <a:gd name="T54" fmla="*/ 83172 w 675004"/>
                    <a:gd name="T55" fmla="*/ 252056 h 281304"/>
                    <a:gd name="T56" fmla="*/ 156756 w 675004"/>
                    <a:gd name="T57" fmla="*/ 129120 h 281304"/>
                    <a:gd name="T58" fmla="*/ 230314 w 675004"/>
                    <a:gd name="T59" fmla="*/ 252056 h 281304"/>
                    <a:gd name="T60" fmla="*/ 242646 w 675004"/>
                    <a:gd name="T61" fmla="*/ 268744 h 281304"/>
                    <a:gd name="T62" fmla="*/ 255460 w 675004"/>
                    <a:gd name="T63" fmla="*/ 277317 h 281304"/>
                    <a:gd name="T64" fmla="*/ 270827 w 675004"/>
                    <a:gd name="T65" fmla="*/ 280479 h 281304"/>
                    <a:gd name="T66" fmla="*/ 290791 w 675004"/>
                    <a:gd name="T67" fmla="*/ 280936 h 281304"/>
                    <a:gd name="T68" fmla="*/ 313512 w 675004"/>
                    <a:gd name="T69" fmla="*/ 280936 h 281304"/>
                    <a:gd name="T70" fmla="*/ 313512 w 675004"/>
                    <a:gd name="T71" fmla="*/ 238721 h 281304"/>
                    <a:gd name="T72" fmla="*/ 674928 w 675004"/>
                    <a:gd name="T73" fmla="*/ 68872 h 281304"/>
                    <a:gd name="T74" fmla="*/ 653173 w 675004"/>
                    <a:gd name="T75" fmla="*/ 68872 h 281304"/>
                    <a:gd name="T76" fmla="*/ 622833 w 675004"/>
                    <a:gd name="T77" fmla="*/ 3213 h 281304"/>
                    <a:gd name="T78" fmla="*/ 419658 w 675004"/>
                    <a:gd name="T79" fmla="*/ 3213 h 281304"/>
                    <a:gd name="T80" fmla="*/ 395960 w 675004"/>
                    <a:gd name="T81" fmla="*/ 54330 h 281304"/>
                    <a:gd name="T82" fmla="*/ 389064 w 675004"/>
                    <a:gd name="T83" fmla="*/ 68872 h 281304"/>
                    <a:gd name="T84" fmla="*/ 367347 w 675004"/>
                    <a:gd name="T85" fmla="*/ 68872 h 281304"/>
                    <a:gd name="T86" fmla="*/ 367347 w 675004"/>
                    <a:gd name="T87" fmla="*/ 110591 h 281304"/>
                    <a:gd name="T88" fmla="*/ 396963 w 675004"/>
                    <a:gd name="T89" fmla="*/ 110591 h 281304"/>
                    <a:gd name="T90" fmla="*/ 411289 w 675004"/>
                    <a:gd name="T91" fmla="*/ 109651 h 281304"/>
                    <a:gd name="T92" fmla="*/ 422592 w 675004"/>
                    <a:gd name="T93" fmla="*/ 106095 h 281304"/>
                    <a:gd name="T94" fmla="*/ 431622 w 675004"/>
                    <a:gd name="T95" fmla="*/ 98729 h 281304"/>
                    <a:gd name="T96" fmla="*/ 439153 w 675004"/>
                    <a:gd name="T97" fmla="*/ 86423 h 281304"/>
                    <a:gd name="T98" fmla="*/ 455942 w 675004"/>
                    <a:gd name="T99" fmla="*/ 49860 h 281304"/>
                    <a:gd name="T100" fmla="*/ 586295 w 675004"/>
                    <a:gd name="T101" fmla="*/ 49860 h 281304"/>
                    <a:gd name="T102" fmla="*/ 604558 w 675004"/>
                    <a:gd name="T103" fmla="*/ 86423 h 281304"/>
                    <a:gd name="T104" fmla="*/ 647255 w 675004"/>
                    <a:gd name="T105" fmla="*/ 110591 h 281304"/>
                    <a:gd name="T106" fmla="*/ 674928 w 675004"/>
                    <a:gd name="T107" fmla="*/ 110591 h 281304"/>
                    <a:gd name="T108" fmla="*/ 674928 w 675004"/>
                    <a:gd name="T109" fmla="*/ 68872 h 281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75004" h="281304">
                      <a:moveTo>
                        <a:pt x="313512" y="238721"/>
                      </a:moveTo>
                      <a:lnTo>
                        <a:pt x="304380" y="238721"/>
                      </a:lnTo>
                      <a:lnTo>
                        <a:pt x="295198" y="237807"/>
                      </a:lnTo>
                      <a:lnTo>
                        <a:pt x="288391" y="234873"/>
                      </a:lnTo>
                      <a:lnTo>
                        <a:pt x="282778" y="229666"/>
                      </a:lnTo>
                      <a:lnTo>
                        <a:pt x="277202" y="221932"/>
                      </a:lnTo>
                      <a:lnTo>
                        <a:pt x="196989" y="86906"/>
                      </a:lnTo>
                      <a:lnTo>
                        <a:pt x="312521" y="86906"/>
                      </a:lnTo>
                      <a:lnTo>
                        <a:pt x="312521" y="40487"/>
                      </a:lnTo>
                      <a:lnTo>
                        <a:pt x="186118" y="40487"/>
                      </a:lnTo>
                      <a:lnTo>
                        <a:pt x="186118" y="0"/>
                      </a:lnTo>
                      <a:lnTo>
                        <a:pt x="126873" y="0"/>
                      </a:lnTo>
                      <a:lnTo>
                        <a:pt x="126873" y="40487"/>
                      </a:lnTo>
                      <a:lnTo>
                        <a:pt x="965" y="40487"/>
                      </a:lnTo>
                      <a:lnTo>
                        <a:pt x="965" y="86906"/>
                      </a:lnTo>
                      <a:lnTo>
                        <a:pt x="116522" y="86906"/>
                      </a:lnTo>
                      <a:lnTo>
                        <a:pt x="36258" y="221932"/>
                      </a:lnTo>
                      <a:lnTo>
                        <a:pt x="30480" y="229666"/>
                      </a:lnTo>
                      <a:lnTo>
                        <a:pt x="24396" y="234873"/>
                      </a:lnTo>
                      <a:lnTo>
                        <a:pt x="17157" y="237807"/>
                      </a:lnTo>
                      <a:lnTo>
                        <a:pt x="7899" y="238721"/>
                      </a:lnTo>
                      <a:lnTo>
                        <a:pt x="0" y="238721"/>
                      </a:lnTo>
                      <a:lnTo>
                        <a:pt x="0" y="280936"/>
                      </a:lnTo>
                      <a:lnTo>
                        <a:pt x="22707" y="280936"/>
                      </a:lnTo>
                      <a:lnTo>
                        <a:pt x="42532" y="280479"/>
                      </a:lnTo>
                      <a:lnTo>
                        <a:pt x="57848" y="277317"/>
                      </a:lnTo>
                      <a:lnTo>
                        <a:pt x="70713" y="268744"/>
                      </a:lnTo>
                      <a:lnTo>
                        <a:pt x="83172" y="252056"/>
                      </a:lnTo>
                      <a:lnTo>
                        <a:pt x="156756" y="129120"/>
                      </a:lnTo>
                      <a:lnTo>
                        <a:pt x="230314" y="252056"/>
                      </a:lnTo>
                      <a:lnTo>
                        <a:pt x="242646" y="268744"/>
                      </a:lnTo>
                      <a:lnTo>
                        <a:pt x="255460" y="277317"/>
                      </a:lnTo>
                      <a:lnTo>
                        <a:pt x="270827" y="280479"/>
                      </a:lnTo>
                      <a:lnTo>
                        <a:pt x="290791" y="280936"/>
                      </a:lnTo>
                      <a:lnTo>
                        <a:pt x="313512" y="280936"/>
                      </a:lnTo>
                      <a:lnTo>
                        <a:pt x="313512" y="238721"/>
                      </a:lnTo>
                      <a:close/>
                    </a:path>
                    <a:path w="675004" h="281304">
                      <a:moveTo>
                        <a:pt x="674928" y="68872"/>
                      </a:moveTo>
                      <a:lnTo>
                        <a:pt x="653173" y="68872"/>
                      </a:lnTo>
                      <a:lnTo>
                        <a:pt x="622833" y="3213"/>
                      </a:lnTo>
                      <a:lnTo>
                        <a:pt x="419658" y="3213"/>
                      </a:lnTo>
                      <a:lnTo>
                        <a:pt x="395960" y="54330"/>
                      </a:lnTo>
                      <a:lnTo>
                        <a:pt x="389064" y="68872"/>
                      </a:lnTo>
                      <a:lnTo>
                        <a:pt x="367347" y="68872"/>
                      </a:lnTo>
                      <a:lnTo>
                        <a:pt x="367347" y="110591"/>
                      </a:lnTo>
                      <a:lnTo>
                        <a:pt x="396963" y="110591"/>
                      </a:lnTo>
                      <a:lnTo>
                        <a:pt x="411289" y="109651"/>
                      </a:lnTo>
                      <a:lnTo>
                        <a:pt x="422592" y="106095"/>
                      </a:lnTo>
                      <a:lnTo>
                        <a:pt x="431622" y="98729"/>
                      </a:lnTo>
                      <a:lnTo>
                        <a:pt x="439153" y="86423"/>
                      </a:lnTo>
                      <a:lnTo>
                        <a:pt x="455942" y="49860"/>
                      </a:lnTo>
                      <a:lnTo>
                        <a:pt x="586295" y="49860"/>
                      </a:lnTo>
                      <a:lnTo>
                        <a:pt x="604558" y="86423"/>
                      </a:lnTo>
                      <a:lnTo>
                        <a:pt x="647255" y="110591"/>
                      </a:lnTo>
                      <a:lnTo>
                        <a:pt x="674928" y="110591"/>
                      </a:lnTo>
                      <a:lnTo>
                        <a:pt x="674928" y="68872"/>
                      </a:lnTo>
                      <a:close/>
                    </a:path>
                  </a:pathLst>
                </a:custGeom>
                <a:solidFill>
                  <a:srgbClr val="58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</p:grpSp>
          <p:sp>
            <p:nvSpPr>
              <p:cNvPr id="54" name="object 72"/>
              <p:cNvSpPr>
                <a:spLocks noChangeArrowheads="1"/>
              </p:cNvSpPr>
              <p:nvPr userDrawn="1"/>
            </p:nvSpPr>
            <p:spPr bwMode="auto">
              <a:xfrm>
                <a:off x="4174490" y="2959418"/>
                <a:ext cx="582613" cy="581025"/>
              </a:xfrm>
              <a:custGeom>
                <a:avLst/>
                <a:gdLst>
                  <a:gd name="T0" fmla="*/ 198927 w 582295"/>
                  <a:gd name="T1" fmla="*/ 14813 h 582295"/>
                  <a:gd name="T2" fmla="*/ 85145 w 582295"/>
                  <a:gd name="T3" fmla="*/ 85146 h 582295"/>
                  <a:gd name="T4" fmla="*/ 14813 w 582295"/>
                  <a:gd name="T5" fmla="*/ 198932 h 582295"/>
                  <a:gd name="T6" fmla="*/ 3802 w 582295"/>
                  <a:gd name="T7" fmla="*/ 338251 h 582295"/>
                  <a:gd name="T8" fmla="*/ 56080 w 582295"/>
                  <a:gd name="T9" fmla="*/ 462948 h 582295"/>
                  <a:gd name="T10" fmla="*/ 157164 w 582295"/>
                  <a:gd name="T11" fmla="*/ 549546 h 582295"/>
                  <a:gd name="T12" fmla="*/ 290985 w 582295"/>
                  <a:gd name="T13" fmla="*/ 581982 h 582295"/>
                  <a:gd name="T14" fmla="*/ 411521 w 582295"/>
                  <a:gd name="T15" fmla="*/ 555155 h 582295"/>
                  <a:gd name="T16" fmla="*/ 199405 w 582295"/>
                  <a:gd name="T17" fmla="*/ 538489 h 582295"/>
                  <a:gd name="T18" fmla="*/ 89829 w 582295"/>
                  <a:gd name="T19" fmla="*/ 460690 h 582295"/>
                  <a:gd name="T20" fmla="*/ 31911 w 582295"/>
                  <a:gd name="T21" fmla="*/ 338159 h 582295"/>
                  <a:gd name="T22" fmla="*/ 31857 w 582295"/>
                  <a:gd name="T23" fmla="*/ 243496 h 582295"/>
                  <a:gd name="T24" fmla="*/ 94308 w 582295"/>
                  <a:gd name="T25" fmla="*/ 198737 h 582295"/>
                  <a:gd name="T26" fmla="*/ 111360 w 582295"/>
                  <a:gd name="T27" fmla="*/ 98609 h 582295"/>
                  <a:gd name="T28" fmla="*/ 212796 w 582295"/>
                  <a:gd name="T29" fmla="*/ 59746 h 582295"/>
                  <a:gd name="T30" fmla="*/ 246691 w 582295"/>
                  <a:gd name="T31" fmla="*/ 30688 h 582295"/>
                  <a:gd name="T32" fmla="*/ 411516 w 582295"/>
                  <a:gd name="T33" fmla="*/ 26826 h 582295"/>
                  <a:gd name="T34" fmla="*/ 290985 w 582295"/>
                  <a:gd name="T35" fmla="*/ 0 h 582295"/>
                  <a:gd name="T36" fmla="*/ 544916 w 582295"/>
                  <a:gd name="T37" fmla="*/ 220755 h 582295"/>
                  <a:gd name="T38" fmla="*/ 554339 w 582295"/>
                  <a:gd name="T39" fmla="*/ 290996 h 582295"/>
                  <a:gd name="T40" fmla="*/ 518214 w 582295"/>
                  <a:gd name="T41" fmla="*/ 423782 h 582295"/>
                  <a:gd name="T42" fmla="*/ 423567 w 582295"/>
                  <a:gd name="T43" fmla="*/ 518820 h 582295"/>
                  <a:gd name="T44" fmla="*/ 290985 w 582295"/>
                  <a:gd name="T45" fmla="*/ 555155 h 582295"/>
                  <a:gd name="T46" fmla="*/ 496835 w 582295"/>
                  <a:gd name="T47" fmla="*/ 496840 h 582295"/>
                  <a:gd name="T48" fmla="*/ 567168 w 582295"/>
                  <a:gd name="T49" fmla="*/ 383058 h 582295"/>
                  <a:gd name="T50" fmla="*/ 578179 w 582295"/>
                  <a:gd name="T51" fmla="*/ 243740 h 582295"/>
                  <a:gd name="T52" fmla="*/ 94308 w 582295"/>
                  <a:gd name="T53" fmla="*/ 198737 h 582295"/>
                  <a:gd name="T54" fmla="*/ 202800 w 582295"/>
                  <a:gd name="T55" fmla="*/ 516141 h 582295"/>
                  <a:gd name="T56" fmla="*/ 255538 w 582295"/>
                  <a:gd name="T57" fmla="*/ 422269 h 582295"/>
                  <a:gd name="T58" fmla="*/ 94308 w 582295"/>
                  <a:gd name="T59" fmla="*/ 198737 h 582295"/>
                  <a:gd name="T60" fmla="*/ 294242 w 582295"/>
                  <a:gd name="T61" fmla="*/ 349926 h 582295"/>
                  <a:gd name="T62" fmla="*/ 379182 w 582295"/>
                  <a:gd name="T63" fmla="*/ 516141 h 582295"/>
                  <a:gd name="T64" fmla="*/ 373486 w 582295"/>
                  <a:gd name="T65" fmla="*/ 422269 h 582295"/>
                  <a:gd name="T66" fmla="*/ 317403 w 582295"/>
                  <a:gd name="T67" fmla="*/ 298713 h 582295"/>
                  <a:gd name="T68" fmla="*/ 260505 w 582295"/>
                  <a:gd name="T69" fmla="*/ 303592 h 582295"/>
                  <a:gd name="T70" fmla="*/ 255538 w 582295"/>
                  <a:gd name="T71" fmla="*/ 422269 h 582295"/>
                  <a:gd name="T72" fmla="*/ 340279 w 582295"/>
                  <a:gd name="T73" fmla="*/ 346670 h 582295"/>
                  <a:gd name="T74" fmla="*/ 317403 w 582295"/>
                  <a:gd name="T75" fmla="*/ 298713 h 582295"/>
                  <a:gd name="T76" fmla="*/ 445504 w 582295"/>
                  <a:gd name="T77" fmla="*/ 77596 h 582295"/>
                  <a:gd name="T78" fmla="*/ 512487 w 582295"/>
                  <a:gd name="T79" fmla="*/ 148749 h 582295"/>
                  <a:gd name="T80" fmla="*/ 537690 w 582295"/>
                  <a:gd name="T81" fmla="*/ 198737 h 582295"/>
                  <a:gd name="T82" fmla="*/ 525901 w 582295"/>
                  <a:gd name="T83" fmla="*/ 119040 h 582295"/>
                  <a:gd name="T84" fmla="*/ 212796 w 582295"/>
                  <a:gd name="T85" fmla="*/ 59746 h 582295"/>
                  <a:gd name="T86" fmla="*/ 262128 w 582295"/>
                  <a:gd name="T87" fmla="*/ 278399 h 582295"/>
                  <a:gd name="T88" fmla="*/ 319843 w 582295"/>
                  <a:gd name="T89" fmla="*/ 278399 h 582295"/>
                  <a:gd name="T90" fmla="*/ 289362 w 582295"/>
                  <a:gd name="T91" fmla="*/ 231249 h 582295"/>
                  <a:gd name="T92" fmla="*/ 411516 w 582295"/>
                  <a:gd name="T93" fmla="*/ 26826 h 582295"/>
                  <a:gd name="T94" fmla="*/ 335289 w 582295"/>
                  <a:gd name="T95" fmla="*/ 30688 h 582295"/>
                  <a:gd name="T96" fmla="*/ 294242 w 582295"/>
                  <a:gd name="T97" fmla="*/ 228003 h 582295"/>
                  <a:gd name="T98" fmla="*/ 417788 w 582295"/>
                  <a:gd name="T99" fmla="*/ 59746 h 582295"/>
                  <a:gd name="T100" fmla="*/ 424814 w 582295"/>
                  <a:gd name="T101" fmla="*/ 32438 h 582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82295" h="582295">
                    <a:moveTo>
                      <a:pt x="290985" y="0"/>
                    </a:moveTo>
                    <a:lnTo>
                      <a:pt x="243733" y="3802"/>
                    </a:lnTo>
                    <a:lnTo>
                      <a:pt x="198927" y="14813"/>
                    </a:lnTo>
                    <a:lnTo>
                      <a:pt x="157164" y="32438"/>
                    </a:lnTo>
                    <a:lnTo>
                      <a:pt x="119038" y="56080"/>
                    </a:lnTo>
                    <a:lnTo>
                      <a:pt x="85145" y="85146"/>
                    </a:lnTo>
                    <a:lnTo>
                      <a:pt x="56080" y="119040"/>
                    </a:lnTo>
                    <a:lnTo>
                      <a:pt x="32437" y="157167"/>
                    </a:lnTo>
                    <a:lnTo>
                      <a:pt x="14813" y="198932"/>
                    </a:lnTo>
                    <a:lnTo>
                      <a:pt x="3802" y="243740"/>
                    </a:lnTo>
                    <a:lnTo>
                      <a:pt x="0" y="290996"/>
                    </a:lnTo>
                    <a:lnTo>
                      <a:pt x="3802" y="338251"/>
                    </a:lnTo>
                    <a:lnTo>
                      <a:pt x="14813" y="383058"/>
                    </a:lnTo>
                    <a:lnTo>
                      <a:pt x="32437" y="424822"/>
                    </a:lnTo>
                    <a:lnTo>
                      <a:pt x="56080" y="462948"/>
                    </a:lnTo>
                    <a:lnTo>
                      <a:pt x="85145" y="496840"/>
                    </a:lnTo>
                    <a:lnTo>
                      <a:pt x="119038" y="525905"/>
                    </a:lnTo>
                    <a:lnTo>
                      <a:pt x="157164" y="549546"/>
                    </a:lnTo>
                    <a:lnTo>
                      <a:pt x="198927" y="567169"/>
                    </a:lnTo>
                    <a:lnTo>
                      <a:pt x="243733" y="578179"/>
                    </a:lnTo>
                    <a:lnTo>
                      <a:pt x="290985" y="581982"/>
                    </a:lnTo>
                    <a:lnTo>
                      <a:pt x="338241" y="578179"/>
                    </a:lnTo>
                    <a:lnTo>
                      <a:pt x="383049" y="567169"/>
                    </a:lnTo>
                    <a:lnTo>
                      <a:pt x="411521" y="555155"/>
                    </a:lnTo>
                    <a:lnTo>
                      <a:pt x="290985" y="555155"/>
                    </a:lnTo>
                    <a:lnTo>
                      <a:pt x="243850" y="550859"/>
                    </a:lnTo>
                    <a:lnTo>
                      <a:pt x="199405" y="538489"/>
                    </a:lnTo>
                    <a:lnTo>
                      <a:pt x="158411" y="518820"/>
                    </a:lnTo>
                    <a:lnTo>
                      <a:pt x="121631" y="492628"/>
                    </a:lnTo>
                    <a:lnTo>
                      <a:pt x="89829" y="460690"/>
                    </a:lnTo>
                    <a:lnTo>
                      <a:pt x="63766" y="423782"/>
                    </a:lnTo>
                    <a:lnTo>
                      <a:pt x="44206" y="382680"/>
                    </a:lnTo>
                    <a:lnTo>
                      <a:pt x="31911" y="338159"/>
                    </a:lnTo>
                    <a:lnTo>
                      <a:pt x="27643" y="290996"/>
                    </a:lnTo>
                    <a:lnTo>
                      <a:pt x="28702" y="266922"/>
                    </a:lnTo>
                    <a:lnTo>
                      <a:pt x="31857" y="243496"/>
                    </a:lnTo>
                    <a:lnTo>
                      <a:pt x="37069" y="220755"/>
                    </a:lnTo>
                    <a:lnTo>
                      <a:pt x="44302" y="198737"/>
                    </a:lnTo>
                    <a:lnTo>
                      <a:pt x="94308" y="198737"/>
                    </a:lnTo>
                    <a:lnTo>
                      <a:pt x="69505" y="148749"/>
                    </a:lnTo>
                    <a:lnTo>
                      <a:pt x="88986" y="122441"/>
                    </a:lnTo>
                    <a:lnTo>
                      <a:pt x="111360" y="98609"/>
                    </a:lnTo>
                    <a:lnTo>
                      <a:pt x="136479" y="77596"/>
                    </a:lnTo>
                    <a:lnTo>
                      <a:pt x="164193" y="59746"/>
                    </a:lnTo>
                    <a:lnTo>
                      <a:pt x="212796" y="59746"/>
                    </a:lnTo>
                    <a:lnTo>
                      <a:pt x="204831" y="41862"/>
                    </a:lnTo>
                    <a:lnTo>
                      <a:pt x="225381" y="35400"/>
                    </a:lnTo>
                    <a:lnTo>
                      <a:pt x="246691" y="30688"/>
                    </a:lnTo>
                    <a:lnTo>
                      <a:pt x="268609" y="27804"/>
                    </a:lnTo>
                    <a:lnTo>
                      <a:pt x="290985" y="26826"/>
                    </a:lnTo>
                    <a:lnTo>
                      <a:pt x="411516" y="26826"/>
                    </a:lnTo>
                    <a:lnTo>
                      <a:pt x="383049" y="14813"/>
                    </a:lnTo>
                    <a:lnTo>
                      <a:pt x="338241" y="3802"/>
                    </a:lnTo>
                    <a:lnTo>
                      <a:pt x="290985" y="0"/>
                    </a:lnTo>
                    <a:close/>
                  </a:path>
                  <a:path w="582295" h="582295">
                    <a:moveTo>
                      <a:pt x="567086" y="198737"/>
                    </a:moveTo>
                    <a:lnTo>
                      <a:pt x="537690" y="198737"/>
                    </a:lnTo>
                    <a:lnTo>
                      <a:pt x="544916" y="220755"/>
                    </a:lnTo>
                    <a:lnTo>
                      <a:pt x="550125" y="243496"/>
                    </a:lnTo>
                    <a:lnTo>
                      <a:pt x="553279" y="266922"/>
                    </a:lnTo>
                    <a:lnTo>
                      <a:pt x="554339" y="290996"/>
                    </a:lnTo>
                    <a:lnTo>
                      <a:pt x="550071" y="338159"/>
                    </a:lnTo>
                    <a:lnTo>
                      <a:pt x="537775" y="382680"/>
                    </a:lnTo>
                    <a:lnTo>
                      <a:pt x="518214" y="423782"/>
                    </a:lnTo>
                    <a:lnTo>
                      <a:pt x="492151" y="460690"/>
                    </a:lnTo>
                    <a:lnTo>
                      <a:pt x="460348" y="492628"/>
                    </a:lnTo>
                    <a:lnTo>
                      <a:pt x="423567" y="518820"/>
                    </a:lnTo>
                    <a:lnTo>
                      <a:pt x="382572" y="538489"/>
                    </a:lnTo>
                    <a:lnTo>
                      <a:pt x="338124" y="550859"/>
                    </a:lnTo>
                    <a:lnTo>
                      <a:pt x="290985" y="555155"/>
                    </a:lnTo>
                    <a:lnTo>
                      <a:pt x="411521" y="555155"/>
                    </a:lnTo>
                    <a:lnTo>
                      <a:pt x="462941" y="525905"/>
                    </a:lnTo>
                    <a:lnTo>
                      <a:pt x="496835" y="496840"/>
                    </a:lnTo>
                    <a:lnTo>
                      <a:pt x="525901" y="462948"/>
                    </a:lnTo>
                    <a:lnTo>
                      <a:pt x="549544" y="424822"/>
                    </a:lnTo>
                    <a:lnTo>
                      <a:pt x="567168" y="383058"/>
                    </a:lnTo>
                    <a:lnTo>
                      <a:pt x="578179" y="338251"/>
                    </a:lnTo>
                    <a:lnTo>
                      <a:pt x="581982" y="290996"/>
                    </a:lnTo>
                    <a:lnTo>
                      <a:pt x="578179" y="243740"/>
                    </a:lnTo>
                    <a:lnTo>
                      <a:pt x="567168" y="198932"/>
                    </a:lnTo>
                    <a:lnTo>
                      <a:pt x="567086" y="198737"/>
                    </a:lnTo>
                    <a:close/>
                  </a:path>
                  <a:path w="582295" h="582295">
                    <a:moveTo>
                      <a:pt x="94308" y="198737"/>
                    </a:moveTo>
                    <a:lnTo>
                      <a:pt x="44302" y="198737"/>
                    </a:lnTo>
                    <a:lnTo>
                      <a:pt x="200360" y="512916"/>
                    </a:lnTo>
                    <a:lnTo>
                      <a:pt x="202800" y="516141"/>
                    </a:lnTo>
                    <a:lnTo>
                      <a:pt x="212558" y="516141"/>
                    </a:lnTo>
                    <a:lnTo>
                      <a:pt x="215239" y="512832"/>
                    </a:lnTo>
                    <a:lnTo>
                      <a:pt x="255538" y="422269"/>
                    </a:lnTo>
                    <a:lnTo>
                      <a:pt x="205239" y="422269"/>
                    </a:lnTo>
                    <a:lnTo>
                      <a:pt x="203606" y="419013"/>
                    </a:lnTo>
                    <a:lnTo>
                      <a:pt x="94308" y="198737"/>
                    </a:lnTo>
                    <a:close/>
                  </a:path>
                  <a:path w="582295" h="582295">
                    <a:moveTo>
                      <a:pt x="340279" y="346670"/>
                    </a:moveTo>
                    <a:lnTo>
                      <a:pt x="292608" y="346670"/>
                    </a:lnTo>
                    <a:lnTo>
                      <a:pt x="294242" y="349926"/>
                    </a:lnTo>
                    <a:lnTo>
                      <a:pt x="366742" y="512832"/>
                    </a:lnTo>
                    <a:lnTo>
                      <a:pt x="369423" y="516141"/>
                    </a:lnTo>
                    <a:lnTo>
                      <a:pt x="379182" y="516141"/>
                    </a:lnTo>
                    <a:lnTo>
                      <a:pt x="381613" y="512916"/>
                    </a:lnTo>
                    <a:lnTo>
                      <a:pt x="426646" y="422269"/>
                    </a:lnTo>
                    <a:lnTo>
                      <a:pt x="373486" y="422269"/>
                    </a:lnTo>
                    <a:lnTo>
                      <a:pt x="371873" y="419013"/>
                    </a:lnTo>
                    <a:lnTo>
                      <a:pt x="340279" y="346670"/>
                    </a:lnTo>
                    <a:close/>
                  </a:path>
                  <a:path w="582295" h="582295">
                    <a:moveTo>
                      <a:pt x="317403" y="298713"/>
                    </a:moveTo>
                    <a:lnTo>
                      <a:pt x="264578" y="298713"/>
                    </a:lnTo>
                    <a:lnTo>
                      <a:pt x="262128" y="299530"/>
                    </a:lnTo>
                    <a:lnTo>
                      <a:pt x="260505" y="303592"/>
                    </a:lnTo>
                    <a:lnTo>
                      <a:pt x="210108" y="419013"/>
                    </a:lnTo>
                    <a:lnTo>
                      <a:pt x="208485" y="422269"/>
                    </a:lnTo>
                    <a:lnTo>
                      <a:pt x="255538" y="422269"/>
                    </a:lnTo>
                    <a:lnTo>
                      <a:pt x="287729" y="349926"/>
                    </a:lnTo>
                    <a:lnTo>
                      <a:pt x="289362" y="346670"/>
                    </a:lnTo>
                    <a:lnTo>
                      <a:pt x="340279" y="346670"/>
                    </a:lnTo>
                    <a:lnTo>
                      <a:pt x="321466" y="303592"/>
                    </a:lnTo>
                    <a:lnTo>
                      <a:pt x="319843" y="299530"/>
                    </a:lnTo>
                    <a:lnTo>
                      <a:pt x="317403" y="298713"/>
                    </a:lnTo>
                    <a:close/>
                  </a:path>
                  <a:path w="582295" h="582295">
                    <a:moveTo>
                      <a:pt x="467216" y="59746"/>
                    </a:moveTo>
                    <a:lnTo>
                      <a:pt x="417788" y="59746"/>
                    </a:lnTo>
                    <a:lnTo>
                      <a:pt x="445504" y="77596"/>
                    </a:lnTo>
                    <a:lnTo>
                      <a:pt x="470627" y="98609"/>
                    </a:lnTo>
                    <a:lnTo>
                      <a:pt x="493004" y="122441"/>
                    </a:lnTo>
                    <a:lnTo>
                      <a:pt x="512487" y="148749"/>
                    </a:lnTo>
                    <a:lnTo>
                      <a:pt x="376742" y="422269"/>
                    </a:lnTo>
                    <a:lnTo>
                      <a:pt x="426646" y="422269"/>
                    </a:lnTo>
                    <a:lnTo>
                      <a:pt x="537690" y="198737"/>
                    </a:lnTo>
                    <a:lnTo>
                      <a:pt x="567086" y="198737"/>
                    </a:lnTo>
                    <a:lnTo>
                      <a:pt x="549544" y="157167"/>
                    </a:lnTo>
                    <a:lnTo>
                      <a:pt x="525901" y="119040"/>
                    </a:lnTo>
                    <a:lnTo>
                      <a:pt x="496835" y="85146"/>
                    </a:lnTo>
                    <a:lnTo>
                      <a:pt x="467216" y="59746"/>
                    </a:lnTo>
                    <a:close/>
                  </a:path>
                  <a:path w="582295" h="582295">
                    <a:moveTo>
                      <a:pt x="212796" y="59746"/>
                    </a:moveTo>
                    <a:lnTo>
                      <a:pt x="164193" y="59746"/>
                    </a:lnTo>
                    <a:lnTo>
                      <a:pt x="260505" y="274337"/>
                    </a:lnTo>
                    <a:lnTo>
                      <a:pt x="262128" y="278399"/>
                    </a:lnTo>
                    <a:lnTo>
                      <a:pt x="264578" y="279206"/>
                    </a:lnTo>
                    <a:lnTo>
                      <a:pt x="317403" y="279206"/>
                    </a:lnTo>
                    <a:lnTo>
                      <a:pt x="319843" y="278399"/>
                    </a:lnTo>
                    <a:lnTo>
                      <a:pt x="321466" y="274337"/>
                    </a:lnTo>
                    <a:lnTo>
                      <a:pt x="340807" y="231249"/>
                    </a:lnTo>
                    <a:lnTo>
                      <a:pt x="289362" y="231249"/>
                    </a:lnTo>
                    <a:lnTo>
                      <a:pt x="287729" y="228003"/>
                    </a:lnTo>
                    <a:lnTo>
                      <a:pt x="212796" y="59746"/>
                    </a:lnTo>
                    <a:close/>
                  </a:path>
                  <a:path w="582295" h="582295">
                    <a:moveTo>
                      <a:pt x="411516" y="26826"/>
                    </a:moveTo>
                    <a:lnTo>
                      <a:pt x="290985" y="26826"/>
                    </a:lnTo>
                    <a:lnTo>
                      <a:pt x="313367" y="27804"/>
                    </a:lnTo>
                    <a:lnTo>
                      <a:pt x="335289" y="30688"/>
                    </a:lnTo>
                    <a:lnTo>
                      <a:pt x="356600" y="35400"/>
                    </a:lnTo>
                    <a:lnTo>
                      <a:pt x="377150" y="41862"/>
                    </a:lnTo>
                    <a:lnTo>
                      <a:pt x="294242" y="228003"/>
                    </a:lnTo>
                    <a:lnTo>
                      <a:pt x="292608" y="231249"/>
                    </a:lnTo>
                    <a:lnTo>
                      <a:pt x="340807" y="231249"/>
                    </a:lnTo>
                    <a:lnTo>
                      <a:pt x="417788" y="59746"/>
                    </a:lnTo>
                    <a:lnTo>
                      <a:pt x="467216" y="59746"/>
                    </a:lnTo>
                    <a:lnTo>
                      <a:pt x="462941" y="56080"/>
                    </a:lnTo>
                    <a:lnTo>
                      <a:pt x="424814" y="32438"/>
                    </a:lnTo>
                    <a:lnTo>
                      <a:pt x="411516" y="26826"/>
                    </a:lnTo>
                    <a:close/>
                  </a:path>
                </a:pathLst>
              </a:custGeom>
              <a:solidFill>
                <a:srgbClr val="1F2F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55" name="object 73"/>
              <p:cNvGrpSpPr/>
              <p:nvPr userDrawn="1"/>
            </p:nvGrpSpPr>
            <p:grpSpPr bwMode="auto">
              <a:xfrm>
                <a:off x="3252153" y="2976880"/>
                <a:ext cx="814387" cy="542925"/>
                <a:chOff x="9663221" y="6807394"/>
                <a:chExt cx="814705" cy="542925"/>
              </a:xfrm>
            </p:grpSpPr>
            <p:sp>
              <p:nvSpPr>
                <p:cNvPr id="56" name="object 74"/>
                <p:cNvSpPr>
                  <a:spLocks noChangeArrowheads="1"/>
                </p:cNvSpPr>
                <p:nvPr/>
              </p:nvSpPr>
              <p:spPr bwMode="auto">
                <a:xfrm>
                  <a:off x="9663221" y="6807394"/>
                  <a:ext cx="814705" cy="542925"/>
                </a:xfrm>
                <a:custGeom>
                  <a:avLst/>
                  <a:gdLst>
                    <a:gd name="T0" fmla="*/ 351965 w 814704"/>
                    <a:gd name="T1" fmla="*/ 2478 h 542925"/>
                    <a:gd name="T2" fmla="*/ 248713 w 814704"/>
                    <a:gd name="T3" fmla="*/ 21332 h 542925"/>
                    <a:gd name="T4" fmla="*/ 158380 w 814704"/>
                    <a:gd name="T5" fmla="*/ 56560 h 542925"/>
                    <a:gd name="T6" fmla="*/ 84849 w 814704"/>
                    <a:gd name="T7" fmla="*/ 105575 h 542925"/>
                    <a:gd name="T8" fmla="*/ 32001 w 814704"/>
                    <a:gd name="T9" fmla="*/ 165789 h 542925"/>
                    <a:gd name="T10" fmla="*/ 0 w 814704"/>
                    <a:gd name="T11" fmla="*/ 271447 h 542925"/>
                    <a:gd name="T12" fmla="*/ 32001 w 814704"/>
                    <a:gd name="T13" fmla="*/ 377110 h 542925"/>
                    <a:gd name="T14" fmla="*/ 84849 w 814704"/>
                    <a:gd name="T15" fmla="*/ 437327 h 542925"/>
                    <a:gd name="T16" fmla="*/ 158380 w 814704"/>
                    <a:gd name="T17" fmla="*/ 486343 h 542925"/>
                    <a:gd name="T18" fmla="*/ 248713 w 814704"/>
                    <a:gd name="T19" fmla="*/ 521572 h 542925"/>
                    <a:gd name="T20" fmla="*/ 351965 w 814704"/>
                    <a:gd name="T21" fmla="*/ 540426 h 542925"/>
                    <a:gd name="T22" fmla="*/ 462481 w 814704"/>
                    <a:gd name="T23" fmla="*/ 540426 h 542925"/>
                    <a:gd name="T24" fmla="*/ 565733 w 814704"/>
                    <a:gd name="T25" fmla="*/ 521572 h 542925"/>
                    <a:gd name="T26" fmla="*/ 407223 w 814704"/>
                    <a:gd name="T27" fmla="*/ 514392 h 542925"/>
                    <a:gd name="T28" fmla="*/ 307050 w 814704"/>
                    <a:gd name="T29" fmla="*/ 505743 h 542925"/>
                    <a:gd name="T30" fmla="*/ 215191 w 814704"/>
                    <a:gd name="T31" fmla="*/ 480519 h 542925"/>
                    <a:gd name="T32" fmla="*/ 135597 w 814704"/>
                    <a:gd name="T33" fmla="*/ 439808 h 542925"/>
                    <a:gd name="T34" fmla="*/ 56561 w 814704"/>
                    <a:gd name="T35" fmla="*/ 361992 h 542925"/>
                    <a:gd name="T36" fmla="*/ 29056 w 814704"/>
                    <a:gd name="T37" fmla="*/ 271447 h 542925"/>
                    <a:gd name="T38" fmla="*/ 56561 w 814704"/>
                    <a:gd name="T39" fmla="*/ 180910 h 542925"/>
                    <a:gd name="T40" fmla="*/ 135597 w 814704"/>
                    <a:gd name="T41" fmla="*/ 103096 h 542925"/>
                    <a:gd name="T42" fmla="*/ 215191 w 814704"/>
                    <a:gd name="T43" fmla="*/ 62385 h 542925"/>
                    <a:gd name="T44" fmla="*/ 307050 w 814704"/>
                    <a:gd name="T45" fmla="*/ 37161 h 542925"/>
                    <a:gd name="T46" fmla="*/ 407223 w 814704"/>
                    <a:gd name="T47" fmla="*/ 28512 h 542925"/>
                    <a:gd name="T48" fmla="*/ 565733 w 814704"/>
                    <a:gd name="T49" fmla="*/ 21332 h 542925"/>
                    <a:gd name="T50" fmla="*/ 462481 w 814704"/>
                    <a:gd name="T51" fmla="*/ 2478 h 542925"/>
                    <a:gd name="T52" fmla="*/ 587198 w 814704"/>
                    <a:gd name="T53" fmla="*/ 28512 h 542925"/>
                    <a:gd name="T54" fmla="*/ 458101 w 814704"/>
                    <a:gd name="T55" fmla="*/ 30697 h 542925"/>
                    <a:gd name="T56" fmla="*/ 554611 w 814704"/>
                    <a:gd name="T57" fmla="*/ 47769 h 542925"/>
                    <a:gd name="T58" fmla="*/ 640831 w 814704"/>
                    <a:gd name="T59" fmla="*/ 80872 h 542925"/>
                    <a:gd name="T60" fmla="*/ 724482 w 814704"/>
                    <a:gd name="T61" fmla="*/ 139896 h 542925"/>
                    <a:gd name="T62" fmla="*/ 778404 w 814704"/>
                    <a:gd name="T63" fmla="*/ 225105 h 542925"/>
                    <a:gd name="T64" fmla="*/ 778404 w 814704"/>
                    <a:gd name="T65" fmla="*/ 317795 h 542925"/>
                    <a:gd name="T66" fmla="*/ 724482 w 814704"/>
                    <a:gd name="T67" fmla="*/ 403007 h 542925"/>
                    <a:gd name="T68" fmla="*/ 640831 w 814704"/>
                    <a:gd name="T69" fmla="*/ 462032 h 542925"/>
                    <a:gd name="T70" fmla="*/ 554611 w 814704"/>
                    <a:gd name="T71" fmla="*/ 495135 h 542925"/>
                    <a:gd name="T72" fmla="*/ 458101 w 814704"/>
                    <a:gd name="T73" fmla="*/ 512207 h 542925"/>
                    <a:gd name="T74" fmla="*/ 587197 w 814704"/>
                    <a:gd name="T75" fmla="*/ 514392 h 542925"/>
                    <a:gd name="T76" fmla="*/ 695173 w 814704"/>
                    <a:gd name="T77" fmla="*/ 463396 h 542925"/>
                    <a:gd name="T78" fmla="*/ 758848 w 814704"/>
                    <a:gd name="T79" fmla="*/ 408457 h 542925"/>
                    <a:gd name="T80" fmla="*/ 810728 w 814704"/>
                    <a:gd name="T81" fmla="*/ 308282 h 542925"/>
                    <a:gd name="T82" fmla="*/ 810728 w 814704"/>
                    <a:gd name="T83" fmla="*/ 234614 h 542925"/>
                    <a:gd name="T84" fmla="*/ 758848 w 814704"/>
                    <a:gd name="T85" fmla="*/ 134444 h 542925"/>
                    <a:gd name="T86" fmla="*/ 695173 w 814704"/>
                    <a:gd name="T87" fmla="*/ 79506 h 542925"/>
                    <a:gd name="T88" fmla="*/ 612756 w 814704"/>
                    <a:gd name="T89" fmla="*/ 37061 h 542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14704" h="542925">
                      <a:moveTo>
                        <a:pt x="407223" y="0"/>
                      </a:moveTo>
                      <a:lnTo>
                        <a:pt x="351965" y="2478"/>
                      </a:lnTo>
                      <a:lnTo>
                        <a:pt x="298966" y="9696"/>
                      </a:lnTo>
                      <a:lnTo>
                        <a:pt x="248713" y="21332"/>
                      </a:lnTo>
                      <a:lnTo>
                        <a:pt x="201689" y="37061"/>
                      </a:lnTo>
                      <a:lnTo>
                        <a:pt x="158380" y="56560"/>
                      </a:lnTo>
                      <a:lnTo>
                        <a:pt x="119272" y="79506"/>
                      </a:lnTo>
                      <a:lnTo>
                        <a:pt x="84849" y="105575"/>
                      </a:lnTo>
                      <a:lnTo>
                        <a:pt x="55597" y="134444"/>
                      </a:lnTo>
                      <a:lnTo>
                        <a:pt x="32001" y="165789"/>
                      </a:lnTo>
                      <a:lnTo>
                        <a:pt x="3717" y="234614"/>
                      </a:lnTo>
                      <a:lnTo>
                        <a:pt x="0" y="271447"/>
                      </a:lnTo>
                      <a:lnTo>
                        <a:pt x="3717" y="308282"/>
                      </a:lnTo>
                      <a:lnTo>
                        <a:pt x="32001" y="377110"/>
                      </a:lnTo>
                      <a:lnTo>
                        <a:pt x="55597" y="408457"/>
                      </a:lnTo>
                      <a:lnTo>
                        <a:pt x="84849" y="437327"/>
                      </a:lnTo>
                      <a:lnTo>
                        <a:pt x="119272" y="463396"/>
                      </a:lnTo>
                      <a:lnTo>
                        <a:pt x="158380" y="486343"/>
                      </a:lnTo>
                      <a:lnTo>
                        <a:pt x="201689" y="505843"/>
                      </a:lnTo>
                      <a:lnTo>
                        <a:pt x="248713" y="521572"/>
                      </a:lnTo>
                      <a:lnTo>
                        <a:pt x="298966" y="533208"/>
                      </a:lnTo>
                      <a:lnTo>
                        <a:pt x="351965" y="540426"/>
                      </a:lnTo>
                      <a:lnTo>
                        <a:pt x="407223" y="542904"/>
                      </a:lnTo>
                      <a:lnTo>
                        <a:pt x="462481" y="540426"/>
                      </a:lnTo>
                      <a:lnTo>
                        <a:pt x="515479" y="533208"/>
                      </a:lnTo>
                      <a:lnTo>
                        <a:pt x="565733" y="521572"/>
                      </a:lnTo>
                      <a:lnTo>
                        <a:pt x="587197" y="514392"/>
                      </a:lnTo>
                      <a:lnTo>
                        <a:pt x="407223" y="514392"/>
                      </a:lnTo>
                      <a:lnTo>
                        <a:pt x="356344" y="512207"/>
                      </a:lnTo>
                      <a:lnTo>
                        <a:pt x="307050" y="505743"/>
                      </a:lnTo>
                      <a:lnTo>
                        <a:pt x="259835" y="495135"/>
                      </a:lnTo>
                      <a:lnTo>
                        <a:pt x="215191" y="480519"/>
                      </a:lnTo>
                      <a:lnTo>
                        <a:pt x="173614" y="462032"/>
                      </a:lnTo>
                      <a:lnTo>
                        <a:pt x="135597" y="439808"/>
                      </a:lnTo>
                      <a:lnTo>
                        <a:pt x="89963" y="403007"/>
                      </a:lnTo>
                      <a:lnTo>
                        <a:pt x="56561" y="361992"/>
                      </a:lnTo>
                      <a:lnTo>
                        <a:pt x="36041" y="317795"/>
                      </a:lnTo>
                      <a:lnTo>
                        <a:pt x="29056" y="271447"/>
                      </a:lnTo>
                      <a:lnTo>
                        <a:pt x="36041" y="225105"/>
                      </a:lnTo>
                      <a:lnTo>
                        <a:pt x="56561" y="180910"/>
                      </a:lnTo>
                      <a:lnTo>
                        <a:pt x="89963" y="139896"/>
                      </a:lnTo>
                      <a:lnTo>
                        <a:pt x="135597" y="103096"/>
                      </a:lnTo>
                      <a:lnTo>
                        <a:pt x="173614" y="80872"/>
                      </a:lnTo>
                      <a:lnTo>
                        <a:pt x="215191" y="62385"/>
                      </a:lnTo>
                      <a:lnTo>
                        <a:pt x="259835" y="47769"/>
                      </a:lnTo>
                      <a:lnTo>
                        <a:pt x="307050" y="37161"/>
                      </a:lnTo>
                      <a:lnTo>
                        <a:pt x="356344" y="30697"/>
                      </a:lnTo>
                      <a:lnTo>
                        <a:pt x="407223" y="28512"/>
                      </a:lnTo>
                      <a:lnTo>
                        <a:pt x="587198" y="28512"/>
                      </a:lnTo>
                      <a:lnTo>
                        <a:pt x="565733" y="21332"/>
                      </a:lnTo>
                      <a:lnTo>
                        <a:pt x="515479" y="9696"/>
                      </a:lnTo>
                      <a:lnTo>
                        <a:pt x="462481" y="2478"/>
                      </a:lnTo>
                      <a:lnTo>
                        <a:pt x="407223" y="0"/>
                      </a:lnTo>
                      <a:close/>
                    </a:path>
                    <a:path w="814704" h="542925">
                      <a:moveTo>
                        <a:pt x="587198" y="28512"/>
                      </a:moveTo>
                      <a:lnTo>
                        <a:pt x="407223" y="28512"/>
                      </a:lnTo>
                      <a:lnTo>
                        <a:pt x="458101" y="30697"/>
                      </a:lnTo>
                      <a:lnTo>
                        <a:pt x="507395" y="37161"/>
                      </a:lnTo>
                      <a:lnTo>
                        <a:pt x="554611" y="47769"/>
                      </a:lnTo>
                      <a:lnTo>
                        <a:pt x="599254" y="62385"/>
                      </a:lnTo>
                      <a:lnTo>
                        <a:pt x="640831" y="80872"/>
                      </a:lnTo>
                      <a:lnTo>
                        <a:pt x="678848" y="103096"/>
                      </a:lnTo>
                      <a:lnTo>
                        <a:pt x="724482" y="139896"/>
                      </a:lnTo>
                      <a:lnTo>
                        <a:pt x="757885" y="180910"/>
                      </a:lnTo>
                      <a:lnTo>
                        <a:pt x="778404" y="225105"/>
                      </a:lnTo>
                      <a:lnTo>
                        <a:pt x="785389" y="271447"/>
                      </a:lnTo>
                      <a:lnTo>
                        <a:pt x="778404" y="317795"/>
                      </a:lnTo>
                      <a:lnTo>
                        <a:pt x="757885" y="361992"/>
                      </a:lnTo>
                      <a:lnTo>
                        <a:pt x="724482" y="403007"/>
                      </a:lnTo>
                      <a:lnTo>
                        <a:pt x="678848" y="439808"/>
                      </a:lnTo>
                      <a:lnTo>
                        <a:pt x="640831" y="462032"/>
                      </a:lnTo>
                      <a:lnTo>
                        <a:pt x="599254" y="480519"/>
                      </a:lnTo>
                      <a:lnTo>
                        <a:pt x="554611" y="495135"/>
                      </a:lnTo>
                      <a:lnTo>
                        <a:pt x="507395" y="505743"/>
                      </a:lnTo>
                      <a:lnTo>
                        <a:pt x="458101" y="512207"/>
                      </a:lnTo>
                      <a:lnTo>
                        <a:pt x="407223" y="514392"/>
                      </a:lnTo>
                      <a:lnTo>
                        <a:pt x="587197" y="514392"/>
                      </a:lnTo>
                      <a:lnTo>
                        <a:pt x="656065" y="486343"/>
                      </a:lnTo>
                      <a:lnTo>
                        <a:pt x="695173" y="463396"/>
                      </a:lnTo>
                      <a:lnTo>
                        <a:pt x="729596" y="437327"/>
                      </a:lnTo>
                      <a:lnTo>
                        <a:pt x="758848" y="408457"/>
                      </a:lnTo>
                      <a:lnTo>
                        <a:pt x="782444" y="377110"/>
                      </a:lnTo>
                      <a:lnTo>
                        <a:pt x="810728" y="308282"/>
                      </a:lnTo>
                      <a:lnTo>
                        <a:pt x="814446" y="271447"/>
                      </a:lnTo>
                      <a:lnTo>
                        <a:pt x="810728" y="234614"/>
                      </a:lnTo>
                      <a:lnTo>
                        <a:pt x="782444" y="165789"/>
                      </a:lnTo>
                      <a:lnTo>
                        <a:pt x="758848" y="134444"/>
                      </a:lnTo>
                      <a:lnTo>
                        <a:pt x="729596" y="105575"/>
                      </a:lnTo>
                      <a:lnTo>
                        <a:pt x="695173" y="79506"/>
                      </a:lnTo>
                      <a:lnTo>
                        <a:pt x="656065" y="56560"/>
                      </a:lnTo>
                      <a:lnTo>
                        <a:pt x="612756" y="37061"/>
                      </a:lnTo>
                      <a:lnTo>
                        <a:pt x="587198" y="28512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57" name="object 75"/>
                <p:cNvPicPr>
                  <a:picLocks noChangeArrowheads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24181" y="7130950"/>
                  <a:ext cx="178601" cy="710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58" name="object 76"/>
                <p:cNvSpPr>
                  <a:spLocks noChangeArrowheads="1"/>
                </p:cNvSpPr>
                <p:nvPr/>
              </p:nvSpPr>
              <p:spPr bwMode="auto">
                <a:xfrm>
                  <a:off x="9754171" y="6885209"/>
                  <a:ext cx="633095" cy="387350"/>
                </a:xfrm>
                <a:custGeom>
                  <a:avLst/>
                  <a:gdLst>
                    <a:gd name="T0" fmla="*/ 248602 w 633095"/>
                    <a:gd name="T1" fmla="*/ 180149 h 387350"/>
                    <a:gd name="T2" fmla="*/ 32524 w 633095"/>
                    <a:gd name="T3" fmla="*/ 180149 h 387350"/>
                    <a:gd name="T4" fmla="*/ 43903 w 633095"/>
                    <a:gd name="T5" fmla="*/ 207721 h 387350"/>
                    <a:gd name="T6" fmla="*/ 48602 w 633095"/>
                    <a:gd name="T7" fmla="*/ 215074 h 387350"/>
                    <a:gd name="T8" fmla="*/ 55219 w 633095"/>
                    <a:gd name="T9" fmla="*/ 220726 h 387350"/>
                    <a:gd name="T10" fmla="*/ 63207 w 633095"/>
                    <a:gd name="T11" fmla="*/ 224358 h 387350"/>
                    <a:gd name="T12" fmla="*/ 71945 w 633095"/>
                    <a:gd name="T13" fmla="*/ 225640 h 387350"/>
                    <a:gd name="T14" fmla="*/ 248602 w 633095"/>
                    <a:gd name="T15" fmla="*/ 225640 h 387350"/>
                    <a:gd name="T16" fmla="*/ 248602 w 633095"/>
                    <a:gd name="T17" fmla="*/ 180149 h 387350"/>
                    <a:gd name="T18" fmla="*/ 248602 w 633095"/>
                    <a:gd name="T19" fmla="*/ 100914 h 387350"/>
                    <a:gd name="T20" fmla="*/ 0 w 633095"/>
                    <a:gd name="T21" fmla="*/ 100914 h 387350"/>
                    <a:gd name="T22" fmla="*/ 11379 w 633095"/>
                    <a:gd name="T23" fmla="*/ 128473 h 387350"/>
                    <a:gd name="T24" fmla="*/ 16078 w 633095"/>
                    <a:gd name="T25" fmla="*/ 135839 h 387350"/>
                    <a:gd name="T26" fmla="*/ 22694 w 633095"/>
                    <a:gd name="T27" fmla="*/ 141490 h 387350"/>
                    <a:gd name="T28" fmla="*/ 30670 w 633095"/>
                    <a:gd name="T29" fmla="*/ 145135 h 387350"/>
                    <a:gd name="T30" fmla="*/ 39408 w 633095"/>
                    <a:gd name="T31" fmla="*/ 146418 h 387350"/>
                    <a:gd name="T32" fmla="*/ 248602 w 633095"/>
                    <a:gd name="T33" fmla="*/ 146418 h 387350"/>
                    <a:gd name="T34" fmla="*/ 248602 w 633095"/>
                    <a:gd name="T35" fmla="*/ 100914 h 387350"/>
                    <a:gd name="T36" fmla="*/ 383908 w 633095"/>
                    <a:gd name="T37" fmla="*/ 343484 h 387350"/>
                    <a:gd name="T38" fmla="*/ 353504 w 633095"/>
                    <a:gd name="T39" fmla="*/ 343484 h 387350"/>
                    <a:gd name="T40" fmla="*/ 348869 w 633095"/>
                    <a:gd name="T41" fmla="*/ 338924 h 387350"/>
                    <a:gd name="T42" fmla="*/ 348869 w 633095"/>
                    <a:gd name="T43" fmla="*/ 0 h 387350"/>
                    <a:gd name="T44" fmla="*/ 323748 w 633095"/>
                    <a:gd name="T45" fmla="*/ 0 h 387350"/>
                    <a:gd name="T46" fmla="*/ 262750 w 633095"/>
                    <a:gd name="T47" fmla="*/ 25336 h 387350"/>
                    <a:gd name="T48" fmla="*/ 254584 w 633095"/>
                    <a:gd name="T49" fmla="*/ 28219 h 387350"/>
                    <a:gd name="T50" fmla="*/ 254584 w 633095"/>
                    <a:gd name="T51" fmla="*/ 56146 h 387350"/>
                    <a:gd name="T52" fmla="*/ 279349 w 633095"/>
                    <a:gd name="T53" fmla="*/ 56146 h 387350"/>
                    <a:gd name="T54" fmla="*/ 283641 w 633095"/>
                    <a:gd name="T55" fmla="*/ 60350 h 387350"/>
                    <a:gd name="T56" fmla="*/ 283641 w 633095"/>
                    <a:gd name="T57" fmla="*/ 338924 h 387350"/>
                    <a:gd name="T58" fmla="*/ 279006 w 633095"/>
                    <a:gd name="T59" fmla="*/ 343484 h 387350"/>
                    <a:gd name="T60" fmla="*/ 248602 w 633095"/>
                    <a:gd name="T61" fmla="*/ 343484 h 387350"/>
                    <a:gd name="T62" fmla="*/ 248602 w 633095"/>
                    <a:gd name="T63" fmla="*/ 387286 h 387350"/>
                    <a:gd name="T64" fmla="*/ 383908 w 633095"/>
                    <a:gd name="T65" fmla="*/ 387286 h 387350"/>
                    <a:gd name="T66" fmla="*/ 383908 w 633095"/>
                    <a:gd name="T67" fmla="*/ 343484 h 387350"/>
                    <a:gd name="T68" fmla="*/ 599986 w 633095"/>
                    <a:gd name="T69" fmla="*/ 180149 h 387350"/>
                    <a:gd name="T70" fmla="*/ 383908 w 633095"/>
                    <a:gd name="T71" fmla="*/ 180149 h 387350"/>
                    <a:gd name="T72" fmla="*/ 383908 w 633095"/>
                    <a:gd name="T73" fmla="*/ 225640 h 387350"/>
                    <a:gd name="T74" fmla="*/ 560565 w 633095"/>
                    <a:gd name="T75" fmla="*/ 225640 h 387350"/>
                    <a:gd name="T76" fmla="*/ 569315 w 633095"/>
                    <a:gd name="T77" fmla="*/ 224358 h 387350"/>
                    <a:gd name="T78" fmla="*/ 577291 w 633095"/>
                    <a:gd name="T79" fmla="*/ 220726 h 387350"/>
                    <a:gd name="T80" fmla="*/ 583920 w 633095"/>
                    <a:gd name="T81" fmla="*/ 215074 h 387350"/>
                    <a:gd name="T82" fmla="*/ 588619 w 633095"/>
                    <a:gd name="T83" fmla="*/ 207721 h 387350"/>
                    <a:gd name="T84" fmla="*/ 599986 w 633095"/>
                    <a:gd name="T85" fmla="*/ 180149 h 387350"/>
                    <a:gd name="T86" fmla="*/ 632548 w 633095"/>
                    <a:gd name="T87" fmla="*/ 100926 h 387350"/>
                    <a:gd name="T88" fmla="*/ 436905 w 633095"/>
                    <a:gd name="T89" fmla="*/ 100926 h 387350"/>
                    <a:gd name="T90" fmla="*/ 436905 w 633095"/>
                    <a:gd name="T91" fmla="*/ 88277 h 387350"/>
                    <a:gd name="T92" fmla="*/ 383946 w 633095"/>
                    <a:gd name="T93" fmla="*/ 88277 h 387350"/>
                    <a:gd name="T94" fmla="*/ 383921 w 633095"/>
                    <a:gd name="T95" fmla="*/ 146418 h 387350"/>
                    <a:gd name="T96" fmla="*/ 593128 w 633095"/>
                    <a:gd name="T97" fmla="*/ 146418 h 387350"/>
                    <a:gd name="T98" fmla="*/ 601865 w 633095"/>
                    <a:gd name="T99" fmla="*/ 145135 h 387350"/>
                    <a:gd name="T100" fmla="*/ 609841 w 633095"/>
                    <a:gd name="T101" fmla="*/ 141503 h 387350"/>
                    <a:gd name="T102" fmla="*/ 616470 w 633095"/>
                    <a:gd name="T103" fmla="*/ 135839 h 387350"/>
                    <a:gd name="T104" fmla="*/ 621169 w 633095"/>
                    <a:gd name="T105" fmla="*/ 128485 h 387350"/>
                    <a:gd name="T106" fmla="*/ 632548 w 633095"/>
                    <a:gd name="T107" fmla="*/ 100926 h 3873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33095" h="387350">
                      <a:moveTo>
                        <a:pt x="248602" y="180149"/>
                      </a:moveTo>
                      <a:lnTo>
                        <a:pt x="32524" y="180149"/>
                      </a:lnTo>
                      <a:lnTo>
                        <a:pt x="43903" y="207721"/>
                      </a:lnTo>
                      <a:lnTo>
                        <a:pt x="48602" y="215074"/>
                      </a:lnTo>
                      <a:lnTo>
                        <a:pt x="55219" y="220726"/>
                      </a:lnTo>
                      <a:lnTo>
                        <a:pt x="63207" y="224358"/>
                      </a:lnTo>
                      <a:lnTo>
                        <a:pt x="71945" y="225640"/>
                      </a:lnTo>
                      <a:lnTo>
                        <a:pt x="248602" y="225640"/>
                      </a:lnTo>
                      <a:lnTo>
                        <a:pt x="248602" y="180149"/>
                      </a:lnTo>
                      <a:close/>
                    </a:path>
                    <a:path w="633095" h="387350">
                      <a:moveTo>
                        <a:pt x="248602" y="100914"/>
                      </a:moveTo>
                      <a:lnTo>
                        <a:pt x="0" y="100914"/>
                      </a:lnTo>
                      <a:lnTo>
                        <a:pt x="11379" y="128473"/>
                      </a:lnTo>
                      <a:lnTo>
                        <a:pt x="16078" y="135839"/>
                      </a:lnTo>
                      <a:lnTo>
                        <a:pt x="22694" y="141490"/>
                      </a:lnTo>
                      <a:lnTo>
                        <a:pt x="30670" y="145135"/>
                      </a:lnTo>
                      <a:lnTo>
                        <a:pt x="39408" y="146418"/>
                      </a:lnTo>
                      <a:lnTo>
                        <a:pt x="248602" y="146418"/>
                      </a:lnTo>
                      <a:lnTo>
                        <a:pt x="248602" y="100914"/>
                      </a:lnTo>
                      <a:close/>
                    </a:path>
                    <a:path w="633095" h="387350">
                      <a:moveTo>
                        <a:pt x="383908" y="343484"/>
                      </a:moveTo>
                      <a:lnTo>
                        <a:pt x="353504" y="343484"/>
                      </a:lnTo>
                      <a:lnTo>
                        <a:pt x="348869" y="338924"/>
                      </a:lnTo>
                      <a:lnTo>
                        <a:pt x="348869" y="0"/>
                      </a:lnTo>
                      <a:lnTo>
                        <a:pt x="323748" y="0"/>
                      </a:lnTo>
                      <a:lnTo>
                        <a:pt x="262750" y="25336"/>
                      </a:lnTo>
                      <a:lnTo>
                        <a:pt x="254584" y="28219"/>
                      </a:lnTo>
                      <a:lnTo>
                        <a:pt x="254584" y="56146"/>
                      </a:lnTo>
                      <a:lnTo>
                        <a:pt x="279349" y="56146"/>
                      </a:lnTo>
                      <a:lnTo>
                        <a:pt x="283641" y="60350"/>
                      </a:lnTo>
                      <a:lnTo>
                        <a:pt x="283641" y="338924"/>
                      </a:lnTo>
                      <a:lnTo>
                        <a:pt x="279006" y="343484"/>
                      </a:lnTo>
                      <a:lnTo>
                        <a:pt x="248602" y="343484"/>
                      </a:lnTo>
                      <a:lnTo>
                        <a:pt x="248602" y="387286"/>
                      </a:lnTo>
                      <a:lnTo>
                        <a:pt x="383908" y="387286"/>
                      </a:lnTo>
                      <a:lnTo>
                        <a:pt x="383908" y="343484"/>
                      </a:lnTo>
                      <a:close/>
                    </a:path>
                    <a:path w="633095" h="387350">
                      <a:moveTo>
                        <a:pt x="599986" y="180149"/>
                      </a:moveTo>
                      <a:lnTo>
                        <a:pt x="383908" y="180149"/>
                      </a:lnTo>
                      <a:lnTo>
                        <a:pt x="383908" y="225640"/>
                      </a:lnTo>
                      <a:lnTo>
                        <a:pt x="560565" y="225640"/>
                      </a:lnTo>
                      <a:lnTo>
                        <a:pt x="569315" y="224358"/>
                      </a:lnTo>
                      <a:lnTo>
                        <a:pt x="577291" y="220726"/>
                      </a:lnTo>
                      <a:lnTo>
                        <a:pt x="583920" y="215074"/>
                      </a:lnTo>
                      <a:lnTo>
                        <a:pt x="588619" y="207721"/>
                      </a:lnTo>
                      <a:lnTo>
                        <a:pt x="599986" y="180149"/>
                      </a:lnTo>
                      <a:close/>
                    </a:path>
                    <a:path w="633095" h="387350">
                      <a:moveTo>
                        <a:pt x="632548" y="100926"/>
                      </a:moveTo>
                      <a:lnTo>
                        <a:pt x="436905" y="100926"/>
                      </a:lnTo>
                      <a:lnTo>
                        <a:pt x="436905" y="88277"/>
                      </a:lnTo>
                      <a:lnTo>
                        <a:pt x="383946" y="88277"/>
                      </a:lnTo>
                      <a:lnTo>
                        <a:pt x="383921" y="146418"/>
                      </a:lnTo>
                      <a:lnTo>
                        <a:pt x="593128" y="146418"/>
                      </a:lnTo>
                      <a:lnTo>
                        <a:pt x="601865" y="145135"/>
                      </a:lnTo>
                      <a:lnTo>
                        <a:pt x="609841" y="141503"/>
                      </a:lnTo>
                      <a:lnTo>
                        <a:pt x="616470" y="135839"/>
                      </a:lnTo>
                      <a:lnTo>
                        <a:pt x="621169" y="128485"/>
                      </a:lnTo>
                      <a:lnTo>
                        <a:pt x="632548" y="100926"/>
                      </a:lnTo>
                      <a:close/>
                    </a:path>
                  </a:pathLst>
                </a:custGeom>
                <a:solidFill>
                  <a:srgbClr val="1F2F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buFont typeface="Arial" panose="020B0604020202020204" pitchFamily="34" charset="0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endParaRPr lang="zh-CN" altLang="en-US"/>
                </a:p>
              </p:txBody>
            </p:sp>
            <p:pic>
              <p:nvPicPr>
                <p:cNvPr id="59" name="object 77"/>
                <p:cNvPicPr>
                  <a:picLocks noChangeArrowheads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38100" y="7134680"/>
                  <a:ext cx="178633" cy="6731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40" name="组合 39"/>
            <p:cNvGrpSpPr/>
            <p:nvPr userDrawn="1"/>
          </p:nvGrpSpPr>
          <p:grpSpPr>
            <a:xfrm>
              <a:off x="8416113" y="2195514"/>
              <a:ext cx="972114" cy="930216"/>
              <a:chOff x="8697913" y="3270250"/>
              <a:chExt cx="5510212" cy="5272723"/>
            </a:xfrm>
          </p:grpSpPr>
          <p:sp>
            <p:nvSpPr>
              <p:cNvPr id="41" name="object 2"/>
              <p:cNvSpPr>
                <a:spLocks noChangeArrowheads="1"/>
              </p:cNvSpPr>
              <p:nvPr userDrawn="1"/>
            </p:nvSpPr>
            <p:spPr bwMode="auto">
              <a:xfrm>
                <a:off x="10174288" y="4516438"/>
                <a:ext cx="271462" cy="287337"/>
              </a:xfrm>
              <a:custGeom>
                <a:avLst/>
                <a:gdLst>
                  <a:gd name="T0" fmla="*/ 133074 w 271145"/>
                  <a:gd name="T1" fmla="*/ 0 h 287020"/>
                  <a:gd name="T2" fmla="*/ 80102 w 271145"/>
                  <a:gd name="T3" fmla="*/ 10250 h 287020"/>
                  <a:gd name="T4" fmla="*/ 36616 w 271145"/>
                  <a:gd name="T5" fmla="*/ 40951 h 287020"/>
                  <a:gd name="T6" fmla="*/ 8063 w 271145"/>
                  <a:gd name="T7" fmla="*/ 86638 h 287020"/>
                  <a:gd name="T8" fmla="*/ 0 w 271145"/>
                  <a:gd name="T9" fmla="*/ 141733 h 287020"/>
                  <a:gd name="T10" fmla="*/ 0 w 271145"/>
                  <a:gd name="T11" fmla="*/ 148037 h 287020"/>
                  <a:gd name="T12" fmla="*/ 8398 w 271145"/>
                  <a:gd name="T13" fmla="*/ 200813 h 287020"/>
                  <a:gd name="T14" fmla="*/ 37286 w 271145"/>
                  <a:gd name="T15" fmla="*/ 245688 h 287020"/>
                  <a:gd name="T16" fmla="*/ 81354 w 271145"/>
                  <a:gd name="T17" fmla="*/ 276409 h 287020"/>
                  <a:gd name="T18" fmla="*/ 134917 w 271145"/>
                  <a:gd name="T19" fmla="*/ 286640 h 287020"/>
                  <a:gd name="T20" fmla="*/ 163142 w 271145"/>
                  <a:gd name="T21" fmla="*/ 284083 h 287020"/>
                  <a:gd name="T22" fmla="*/ 211363 w 271145"/>
                  <a:gd name="T23" fmla="*/ 263612 h 287020"/>
                  <a:gd name="T24" fmla="*/ 250011 w 271145"/>
                  <a:gd name="T25" fmla="*/ 224243 h 287020"/>
                  <a:gd name="T26" fmla="*/ 268661 w 271145"/>
                  <a:gd name="T27" fmla="*/ 175407 h 287020"/>
                  <a:gd name="T28" fmla="*/ 270808 w 271145"/>
                  <a:gd name="T29" fmla="*/ 148037 h 287020"/>
                  <a:gd name="T30" fmla="*/ 270808 w 271145"/>
                  <a:gd name="T31" fmla="*/ 141733 h 287020"/>
                  <a:gd name="T32" fmla="*/ 261892 w 271145"/>
                  <a:gd name="T33" fmla="*/ 86638 h 287020"/>
                  <a:gd name="T34" fmla="*/ 232526 w 271145"/>
                  <a:gd name="T35" fmla="*/ 40951 h 287020"/>
                  <a:gd name="T36" fmla="*/ 187512 w 271145"/>
                  <a:gd name="T37" fmla="*/ 10250 h 287020"/>
                  <a:gd name="T38" fmla="*/ 133074 w 271145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1145" h="287020">
                    <a:moveTo>
                      <a:pt x="133074" y="0"/>
                    </a:moveTo>
                    <a:lnTo>
                      <a:pt x="80102" y="10250"/>
                    </a:lnTo>
                    <a:lnTo>
                      <a:pt x="36616" y="40951"/>
                    </a:lnTo>
                    <a:lnTo>
                      <a:pt x="8063" y="86638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8398" y="200813"/>
                    </a:lnTo>
                    <a:lnTo>
                      <a:pt x="37286" y="245688"/>
                    </a:lnTo>
                    <a:lnTo>
                      <a:pt x="81354" y="276409"/>
                    </a:lnTo>
                    <a:lnTo>
                      <a:pt x="134917" y="286640"/>
                    </a:lnTo>
                    <a:lnTo>
                      <a:pt x="163142" y="284083"/>
                    </a:lnTo>
                    <a:lnTo>
                      <a:pt x="211363" y="263612"/>
                    </a:lnTo>
                    <a:lnTo>
                      <a:pt x="250011" y="224243"/>
                    </a:lnTo>
                    <a:lnTo>
                      <a:pt x="268661" y="175407"/>
                    </a:lnTo>
                    <a:lnTo>
                      <a:pt x="270808" y="148037"/>
                    </a:lnTo>
                    <a:lnTo>
                      <a:pt x="270808" y="141733"/>
                    </a:lnTo>
                    <a:lnTo>
                      <a:pt x="261892" y="86638"/>
                    </a:lnTo>
                    <a:lnTo>
                      <a:pt x="232526" y="40951"/>
                    </a:lnTo>
                    <a:lnTo>
                      <a:pt x="187512" y="10250"/>
                    </a:lnTo>
                    <a:lnTo>
                      <a:pt x="133074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2" name="object 3"/>
              <p:cNvSpPr>
                <a:spLocks noChangeArrowheads="1"/>
              </p:cNvSpPr>
              <p:nvPr userDrawn="1"/>
            </p:nvSpPr>
            <p:spPr bwMode="auto">
              <a:xfrm>
                <a:off x="9099550" y="4516438"/>
                <a:ext cx="287338" cy="287337"/>
              </a:xfrm>
              <a:custGeom>
                <a:avLst/>
                <a:gdLst>
                  <a:gd name="T0" fmla="*/ 143231 w 287654"/>
                  <a:gd name="T1" fmla="*/ 0 h 287020"/>
                  <a:gd name="T2" fmla="*/ 87502 w 287654"/>
                  <a:gd name="T3" fmla="*/ 10250 h 287020"/>
                  <a:gd name="T4" fmla="*/ 41339 w 287654"/>
                  <a:gd name="T5" fmla="*/ 40951 h 287020"/>
                  <a:gd name="T6" fmla="*/ 10315 w 287654"/>
                  <a:gd name="T7" fmla="*/ 86634 h 287020"/>
                  <a:gd name="T8" fmla="*/ 0 w 287654"/>
                  <a:gd name="T9" fmla="*/ 141733 h 287020"/>
                  <a:gd name="T10" fmla="*/ 0 w 287654"/>
                  <a:gd name="T11" fmla="*/ 148037 h 287020"/>
                  <a:gd name="T12" fmla="*/ 10315 w 287654"/>
                  <a:gd name="T13" fmla="*/ 200809 h 287020"/>
                  <a:gd name="T14" fmla="*/ 41339 w 287654"/>
                  <a:gd name="T15" fmla="*/ 245688 h 287020"/>
                  <a:gd name="T16" fmla="*/ 87513 w 287654"/>
                  <a:gd name="T17" fmla="*/ 276409 h 287020"/>
                  <a:gd name="T18" fmla="*/ 143252 w 287654"/>
                  <a:gd name="T19" fmla="*/ 286640 h 287020"/>
                  <a:gd name="T20" fmla="*/ 171199 w 287654"/>
                  <a:gd name="T21" fmla="*/ 284083 h 287020"/>
                  <a:gd name="T22" fmla="*/ 221874 w 287654"/>
                  <a:gd name="T23" fmla="*/ 263612 h 287020"/>
                  <a:gd name="T24" fmla="*/ 262293 w 287654"/>
                  <a:gd name="T25" fmla="*/ 224239 h 287020"/>
                  <a:gd name="T26" fmla="*/ 284327 w 287654"/>
                  <a:gd name="T27" fmla="*/ 175406 h 287020"/>
                  <a:gd name="T28" fmla="*/ 287216 w 287654"/>
                  <a:gd name="T29" fmla="*/ 148037 h 287020"/>
                  <a:gd name="T30" fmla="*/ 287216 w 287654"/>
                  <a:gd name="T31" fmla="*/ 141733 h 287020"/>
                  <a:gd name="T32" fmla="*/ 275894 w 287654"/>
                  <a:gd name="T33" fmla="*/ 86634 h 287020"/>
                  <a:gd name="T34" fmla="*/ 243856 w 287654"/>
                  <a:gd name="T35" fmla="*/ 40951 h 287020"/>
                  <a:gd name="T36" fmla="*/ 197513 w 287654"/>
                  <a:gd name="T37" fmla="*/ 10250 h 287020"/>
                  <a:gd name="T38" fmla="*/ 143231 w 287654"/>
                  <a:gd name="T39" fmla="*/ 0 h 287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7654" h="287020">
                    <a:moveTo>
                      <a:pt x="143231" y="0"/>
                    </a:moveTo>
                    <a:lnTo>
                      <a:pt x="87502" y="10250"/>
                    </a:lnTo>
                    <a:lnTo>
                      <a:pt x="41339" y="40951"/>
                    </a:lnTo>
                    <a:lnTo>
                      <a:pt x="10315" y="86634"/>
                    </a:lnTo>
                    <a:lnTo>
                      <a:pt x="0" y="141733"/>
                    </a:lnTo>
                    <a:lnTo>
                      <a:pt x="0" y="148037"/>
                    </a:lnTo>
                    <a:lnTo>
                      <a:pt x="10315" y="200809"/>
                    </a:lnTo>
                    <a:lnTo>
                      <a:pt x="41339" y="245688"/>
                    </a:lnTo>
                    <a:lnTo>
                      <a:pt x="87513" y="276409"/>
                    </a:lnTo>
                    <a:lnTo>
                      <a:pt x="143252" y="286640"/>
                    </a:lnTo>
                    <a:lnTo>
                      <a:pt x="171199" y="284083"/>
                    </a:lnTo>
                    <a:lnTo>
                      <a:pt x="221874" y="263612"/>
                    </a:lnTo>
                    <a:lnTo>
                      <a:pt x="262293" y="224239"/>
                    </a:lnTo>
                    <a:lnTo>
                      <a:pt x="284327" y="175406"/>
                    </a:lnTo>
                    <a:lnTo>
                      <a:pt x="287216" y="148037"/>
                    </a:lnTo>
                    <a:lnTo>
                      <a:pt x="287216" y="141733"/>
                    </a:lnTo>
                    <a:lnTo>
                      <a:pt x="275894" y="86634"/>
                    </a:lnTo>
                    <a:lnTo>
                      <a:pt x="243856" y="40951"/>
                    </a:lnTo>
                    <a:lnTo>
                      <a:pt x="197513" y="10250"/>
                    </a:lnTo>
                    <a:lnTo>
                      <a:pt x="143231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3" name="object 4"/>
              <p:cNvSpPr>
                <a:spLocks noChangeArrowheads="1"/>
              </p:cNvSpPr>
              <p:nvPr userDrawn="1"/>
            </p:nvSpPr>
            <p:spPr bwMode="auto">
              <a:xfrm>
                <a:off x="9077325" y="4926013"/>
                <a:ext cx="1887538" cy="1328737"/>
              </a:xfrm>
              <a:custGeom>
                <a:avLst/>
                <a:gdLst>
                  <a:gd name="T0" fmla="*/ 242340 w 1887854"/>
                  <a:gd name="T1" fmla="*/ 1448 h 1329689"/>
                  <a:gd name="T2" fmla="*/ 138409 w 1887854"/>
                  <a:gd name="T3" fmla="*/ 95040 h 1329689"/>
                  <a:gd name="T4" fmla="*/ 158085 w 1887854"/>
                  <a:gd name="T5" fmla="*/ 193460 h 1329689"/>
                  <a:gd name="T6" fmla="*/ 268243 w 1887854"/>
                  <a:gd name="T7" fmla="*/ 254390 h 1329689"/>
                  <a:gd name="T8" fmla="*/ 810027 w 1887854"/>
                  <a:gd name="T9" fmla="*/ 286421 h 1329689"/>
                  <a:gd name="T10" fmla="*/ 809397 w 1887854"/>
                  <a:gd name="T11" fmla="*/ 322637 h 1329689"/>
                  <a:gd name="T12" fmla="*/ 784803 w 1887854"/>
                  <a:gd name="T13" fmla="*/ 336450 h 1329689"/>
                  <a:gd name="T14" fmla="*/ 306126 w 1887854"/>
                  <a:gd name="T15" fmla="*/ 359663 h 1329689"/>
                  <a:gd name="T16" fmla="*/ 246201 w 1887854"/>
                  <a:gd name="T17" fmla="*/ 469064 h 1329689"/>
                  <a:gd name="T18" fmla="*/ 306126 w 1887854"/>
                  <a:gd name="T19" fmla="*/ 577896 h 1329689"/>
                  <a:gd name="T20" fmla="*/ 772206 w 1887854"/>
                  <a:gd name="T21" fmla="*/ 599060 h 1329689"/>
                  <a:gd name="T22" fmla="*/ 810456 w 1887854"/>
                  <a:gd name="T23" fmla="*/ 646598 h 1329689"/>
                  <a:gd name="T24" fmla="*/ 805495 w 1887854"/>
                  <a:gd name="T25" fmla="*/ 683723 h 1329689"/>
                  <a:gd name="T26" fmla="*/ 129137 w 1887854"/>
                  <a:gd name="T27" fmla="*/ 689329 h 1329689"/>
                  <a:gd name="T28" fmla="*/ 21260 w 1887854"/>
                  <a:gd name="T29" fmla="*/ 749646 h 1329689"/>
                  <a:gd name="T30" fmla="*/ 2362 w 1887854"/>
                  <a:gd name="T31" fmla="*/ 850648 h 1329689"/>
                  <a:gd name="T32" fmla="*/ 103336 w 1887854"/>
                  <a:gd name="T33" fmla="*/ 949740 h 1329689"/>
                  <a:gd name="T34" fmla="*/ 779522 w 1887854"/>
                  <a:gd name="T35" fmla="*/ 953076 h 1329689"/>
                  <a:gd name="T36" fmla="*/ 810456 w 1887854"/>
                  <a:gd name="T37" fmla="*/ 1005686 h 1329689"/>
                  <a:gd name="T38" fmla="*/ 524356 w 1887854"/>
                  <a:gd name="T39" fmla="*/ 1045594 h 1329689"/>
                  <a:gd name="T40" fmla="*/ 415687 w 1887854"/>
                  <a:gd name="T41" fmla="*/ 1161054 h 1329689"/>
                  <a:gd name="T42" fmla="*/ 436156 w 1887854"/>
                  <a:gd name="T43" fmla="*/ 1267476 h 1329689"/>
                  <a:gd name="T44" fmla="*/ 551721 w 1887854"/>
                  <a:gd name="T45" fmla="*/ 1329425 h 1329689"/>
                  <a:gd name="T46" fmla="*/ 923395 w 1887854"/>
                  <a:gd name="T47" fmla="*/ 1309289 h 1329689"/>
                  <a:gd name="T48" fmla="*/ 1046496 w 1887854"/>
                  <a:gd name="T49" fmla="*/ 1209310 h 1329689"/>
                  <a:gd name="T50" fmla="*/ 1097673 w 1887854"/>
                  <a:gd name="T51" fmla="*/ 1052931 h 1329689"/>
                  <a:gd name="T52" fmla="*/ 1123262 w 1887854"/>
                  <a:gd name="T53" fmla="*/ 956309 h 1329689"/>
                  <a:gd name="T54" fmla="*/ 1779135 w 1887854"/>
                  <a:gd name="T55" fmla="*/ 949828 h 1329689"/>
                  <a:gd name="T56" fmla="*/ 1884859 w 1887854"/>
                  <a:gd name="T57" fmla="*/ 850983 h 1329689"/>
                  <a:gd name="T58" fmla="*/ 1865158 w 1887854"/>
                  <a:gd name="T59" fmla="*/ 749337 h 1329689"/>
                  <a:gd name="T60" fmla="*/ 1751873 w 1887854"/>
                  <a:gd name="T61" fmla="*/ 689329 h 1329689"/>
                  <a:gd name="T62" fmla="*/ 1100169 w 1887854"/>
                  <a:gd name="T63" fmla="*/ 663191 h 1329689"/>
                  <a:gd name="T64" fmla="*/ 1098985 w 1887854"/>
                  <a:gd name="T65" fmla="*/ 619698 h 1329689"/>
                  <a:gd name="T66" fmla="*/ 1124981 w 1887854"/>
                  <a:gd name="T67" fmla="*/ 599060 h 1329689"/>
                  <a:gd name="T68" fmla="*/ 1603643 w 1887854"/>
                  <a:gd name="T69" fmla="*/ 578382 h 1329689"/>
                  <a:gd name="T70" fmla="*/ 1663603 w 1887854"/>
                  <a:gd name="T71" fmla="*/ 469357 h 1329689"/>
                  <a:gd name="T72" fmla="*/ 1603643 w 1887854"/>
                  <a:gd name="T73" fmla="*/ 359297 h 1329689"/>
                  <a:gd name="T74" fmla="*/ 1137577 w 1887854"/>
                  <a:gd name="T75" fmla="*/ 336450 h 1329689"/>
                  <a:gd name="T76" fmla="*/ 1097673 w 1887854"/>
                  <a:gd name="T77" fmla="*/ 293823 h 1329689"/>
                  <a:gd name="T78" fmla="*/ 1103446 w 1887854"/>
                  <a:gd name="T79" fmla="*/ 259947 h 1329689"/>
                  <a:gd name="T80" fmla="*/ 1641552 w 1887854"/>
                  <a:gd name="T81" fmla="*/ 254390 h 1329689"/>
                  <a:gd name="T82" fmla="*/ 1751692 w 1887854"/>
                  <a:gd name="T83" fmla="*/ 191953 h 1329689"/>
                  <a:gd name="T84" fmla="*/ 1771379 w 1887854"/>
                  <a:gd name="T85" fmla="*/ 93647 h 1329689"/>
                  <a:gd name="T86" fmla="*/ 1667429 w 1887854"/>
                  <a:gd name="T87" fmla="*/ 1538 h 1329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87854" h="1329689">
                    <a:moveTo>
                      <a:pt x="1641552" y="0"/>
                    </a:moveTo>
                    <a:lnTo>
                      <a:pt x="268243" y="0"/>
                    </a:lnTo>
                    <a:lnTo>
                      <a:pt x="242340" y="1448"/>
                    </a:lnTo>
                    <a:lnTo>
                      <a:pt x="195884" y="16326"/>
                    </a:lnTo>
                    <a:lnTo>
                      <a:pt x="158085" y="51373"/>
                    </a:lnTo>
                    <a:lnTo>
                      <a:pt x="138409" y="95040"/>
                    </a:lnTo>
                    <a:lnTo>
                      <a:pt x="135953" y="120362"/>
                    </a:lnTo>
                    <a:lnTo>
                      <a:pt x="138409" y="146405"/>
                    </a:lnTo>
                    <a:lnTo>
                      <a:pt x="158085" y="193460"/>
                    </a:lnTo>
                    <a:lnTo>
                      <a:pt x="195884" y="231525"/>
                    </a:lnTo>
                    <a:lnTo>
                      <a:pt x="242340" y="251797"/>
                    </a:lnTo>
                    <a:lnTo>
                      <a:pt x="268243" y="254390"/>
                    </a:lnTo>
                    <a:lnTo>
                      <a:pt x="772206" y="254390"/>
                    </a:lnTo>
                    <a:lnTo>
                      <a:pt x="779522" y="254912"/>
                    </a:lnTo>
                    <a:lnTo>
                      <a:pt x="810027" y="286421"/>
                    </a:lnTo>
                    <a:lnTo>
                      <a:pt x="810456" y="293823"/>
                    </a:lnTo>
                    <a:lnTo>
                      <a:pt x="810456" y="309571"/>
                    </a:lnTo>
                    <a:lnTo>
                      <a:pt x="809397" y="322637"/>
                    </a:lnTo>
                    <a:lnTo>
                      <a:pt x="805495" y="330891"/>
                    </a:lnTo>
                    <a:lnTo>
                      <a:pt x="797659" y="335205"/>
                    </a:lnTo>
                    <a:lnTo>
                      <a:pt x="784803" y="336450"/>
                    </a:lnTo>
                    <a:lnTo>
                      <a:pt x="378491" y="336450"/>
                    </a:lnTo>
                    <a:lnTo>
                      <a:pt x="352584" y="339174"/>
                    </a:lnTo>
                    <a:lnTo>
                      <a:pt x="306126" y="359663"/>
                    </a:lnTo>
                    <a:lnTo>
                      <a:pt x="268324" y="396629"/>
                    </a:lnTo>
                    <a:lnTo>
                      <a:pt x="248656" y="443103"/>
                    </a:lnTo>
                    <a:lnTo>
                      <a:pt x="246201" y="469064"/>
                    </a:lnTo>
                    <a:lnTo>
                      <a:pt x="248656" y="494786"/>
                    </a:lnTo>
                    <a:lnTo>
                      <a:pt x="268324" y="540455"/>
                    </a:lnTo>
                    <a:lnTo>
                      <a:pt x="306126" y="577896"/>
                    </a:lnTo>
                    <a:lnTo>
                      <a:pt x="352584" y="596783"/>
                    </a:lnTo>
                    <a:lnTo>
                      <a:pt x="378491" y="599060"/>
                    </a:lnTo>
                    <a:lnTo>
                      <a:pt x="772206" y="599060"/>
                    </a:lnTo>
                    <a:lnTo>
                      <a:pt x="779522" y="600215"/>
                    </a:lnTo>
                    <a:lnTo>
                      <a:pt x="808374" y="630391"/>
                    </a:lnTo>
                    <a:lnTo>
                      <a:pt x="810456" y="646598"/>
                    </a:lnTo>
                    <a:lnTo>
                      <a:pt x="810456" y="662356"/>
                    </a:lnTo>
                    <a:lnTo>
                      <a:pt x="809397" y="675437"/>
                    </a:lnTo>
                    <a:lnTo>
                      <a:pt x="805495" y="683723"/>
                    </a:lnTo>
                    <a:lnTo>
                      <a:pt x="797659" y="688070"/>
                    </a:lnTo>
                    <a:lnTo>
                      <a:pt x="784803" y="689329"/>
                    </a:lnTo>
                    <a:lnTo>
                      <a:pt x="129137" y="689329"/>
                    </a:lnTo>
                    <a:lnTo>
                      <a:pt x="103336" y="692045"/>
                    </a:lnTo>
                    <a:lnTo>
                      <a:pt x="57675" y="712499"/>
                    </a:lnTo>
                    <a:lnTo>
                      <a:pt x="21260" y="749646"/>
                    </a:lnTo>
                    <a:lnTo>
                      <a:pt x="2362" y="797675"/>
                    </a:lnTo>
                    <a:lnTo>
                      <a:pt x="0" y="825021"/>
                    </a:lnTo>
                    <a:lnTo>
                      <a:pt x="2362" y="850648"/>
                    </a:lnTo>
                    <a:lnTo>
                      <a:pt x="21260" y="895542"/>
                    </a:lnTo>
                    <a:lnTo>
                      <a:pt x="57675" y="931609"/>
                    </a:lnTo>
                    <a:lnTo>
                      <a:pt x="103336" y="949740"/>
                    </a:lnTo>
                    <a:lnTo>
                      <a:pt x="129137" y="951929"/>
                    </a:lnTo>
                    <a:lnTo>
                      <a:pt x="772206" y="951929"/>
                    </a:lnTo>
                    <a:lnTo>
                      <a:pt x="779522" y="953076"/>
                    </a:lnTo>
                    <a:lnTo>
                      <a:pt x="808374" y="983976"/>
                    </a:lnTo>
                    <a:lnTo>
                      <a:pt x="810456" y="1002534"/>
                    </a:lnTo>
                    <a:lnTo>
                      <a:pt x="810456" y="1005686"/>
                    </a:lnTo>
                    <a:lnTo>
                      <a:pt x="786096" y="1041341"/>
                    </a:lnTo>
                    <a:lnTo>
                      <a:pt x="551721" y="1042198"/>
                    </a:lnTo>
                    <a:lnTo>
                      <a:pt x="524356" y="1045594"/>
                    </a:lnTo>
                    <a:lnTo>
                      <a:pt x="475521" y="1069758"/>
                    </a:lnTo>
                    <a:lnTo>
                      <a:pt x="436156" y="1110379"/>
                    </a:lnTo>
                    <a:lnTo>
                      <a:pt x="415687" y="1161054"/>
                    </a:lnTo>
                    <a:lnTo>
                      <a:pt x="413128" y="1188843"/>
                    </a:lnTo>
                    <a:lnTo>
                      <a:pt x="415687" y="1217473"/>
                    </a:lnTo>
                    <a:lnTo>
                      <a:pt x="436156" y="1267476"/>
                    </a:lnTo>
                    <a:lnTo>
                      <a:pt x="475521" y="1306861"/>
                    </a:lnTo>
                    <a:lnTo>
                      <a:pt x="524356" y="1326951"/>
                    </a:lnTo>
                    <a:lnTo>
                      <a:pt x="551721" y="1329425"/>
                    </a:lnTo>
                    <a:lnTo>
                      <a:pt x="816310" y="1329425"/>
                    </a:lnTo>
                    <a:lnTo>
                      <a:pt x="871423" y="1324858"/>
                    </a:lnTo>
                    <a:lnTo>
                      <a:pt x="923395" y="1309289"/>
                    </a:lnTo>
                    <a:lnTo>
                      <a:pt x="970632" y="1283785"/>
                    </a:lnTo>
                    <a:lnTo>
                      <a:pt x="1011602" y="1250412"/>
                    </a:lnTo>
                    <a:lnTo>
                      <a:pt x="1046496" y="1209310"/>
                    </a:lnTo>
                    <a:lnTo>
                      <a:pt x="1073537" y="1161116"/>
                    </a:lnTo>
                    <a:lnTo>
                      <a:pt x="1091106" y="1108205"/>
                    </a:lnTo>
                    <a:lnTo>
                      <a:pt x="1097673" y="1052931"/>
                    </a:lnTo>
                    <a:lnTo>
                      <a:pt x="1097673" y="1002534"/>
                    </a:lnTo>
                    <a:lnTo>
                      <a:pt x="1098231" y="993115"/>
                    </a:lnTo>
                    <a:lnTo>
                      <a:pt x="1123262" y="956309"/>
                    </a:lnTo>
                    <a:lnTo>
                      <a:pt x="1137577" y="951929"/>
                    </a:lnTo>
                    <a:lnTo>
                      <a:pt x="1751873" y="951929"/>
                    </a:lnTo>
                    <a:lnTo>
                      <a:pt x="1779135" y="949828"/>
                    </a:lnTo>
                    <a:lnTo>
                      <a:pt x="1827156" y="932081"/>
                    </a:lnTo>
                    <a:lnTo>
                      <a:pt x="1865158" y="896061"/>
                    </a:lnTo>
                    <a:lnTo>
                      <a:pt x="1884859" y="850983"/>
                    </a:lnTo>
                    <a:lnTo>
                      <a:pt x="1887324" y="825315"/>
                    </a:lnTo>
                    <a:lnTo>
                      <a:pt x="1884859" y="797853"/>
                    </a:lnTo>
                    <a:lnTo>
                      <a:pt x="1865158" y="749337"/>
                    </a:lnTo>
                    <a:lnTo>
                      <a:pt x="1827156" y="712145"/>
                    </a:lnTo>
                    <a:lnTo>
                      <a:pt x="1779135" y="691979"/>
                    </a:lnTo>
                    <a:lnTo>
                      <a:pt x="1751873" y="689329"/>
                    </a:lnTo>
                    <a:lnTo>
                      <a:pt x="1137577" y="689329"/>
                    </a:lnTo>
                    <a:lnTo>
                      <a:pt x="1130119" y="688797"/>
                    </a:lnTo>
                    <a:lnTo>
                      <a:pt x="1100169" y="663191"/>
                    </a:lnTo>
                    <a:lnTo>
                      <a:pt x="1097673" y="646598"/>
                    </a:lnTo>
                    <a:lnTo>
                      <a:pt x="1097673" y="634001"/>
                    </a:lnTo>
                    <a:lnTo>
                      <a:pt x="1098985" y="619698"/>
                    </a:lnTo>
                    <a:lnTo>
                      <a:pt x="1103446" y="608669"/>
                    </a:lnTo>
                    <a:lnTo>
                      <a:pt x="1111848" y="601571"/>
                    </a:lnTo>
                    <a:lnTo>
                      <a:pt x="1124981" y="599060"/>
                    </a:lnTo>
                    <a:lnTo>
                      <a:pt x="1531304" y="599060"/>
                    </a:lnTo>
                    <a:lnTo>
                      <a:pt x="1557182" y="596873"/>
                    </a:lnTo>
                    <a:lnTo>
                      <a:pt x="1603643" y="578382"/>
                    </a:lnTo>
                    <a:lnTo>
                      <a:pt x="1641450" y="540987"/>
                    </a:lnTo>
                    <a:lnTo>
                      <a:pt x="1661140" y="495123"/>
                    </a:lnTo>
                    <a:lnTo>
                      <a:pt x="1663603" y="469357"/>
                    </a:lnTo>
                    <a:lnTo>
                      <a:pt x="1661140" y="443279"/>
                    </a:lnTo>
                    <a:lnTo>
                      <a:pt x="1641450" y="396306"/>
                    </a:lnTo>
                    <a:lnTo>
                      <a:pt x="1603643" y="359297"/>
                    </a:lnTo>
                    <a:lnTo>
                      <a:pt x="1557182" y="339106"/>
                    </a:lnTo>
                    <a:lnTo>
                      <a:pt x="1531304" y="336450"/>
                    </a:lnTo>
                    <a:lnTo>
                      <a:pt x="1137577" y="336450"/>
                    </a:lnTo>
                    <a:lnTo>
                      <a:pt x="1130119" y="335926"/>
                    </a:lnTo>
                    <a:lnTo>
                      <a:pt x="1100169" y="310392"/>
                    </a:lnTo>
                    <a:lnTo>
                      <a:pt x="1097673" y="293823"/>
                    </a:lnTo>
                    <a:lnTo>
                      <a:pt x="1097673" y="281227"/>
                    </a:lnTo>
                    <a:lnTo>
                      <a:pt x="1098985" y="268190"/>
                    </a:lnTo>
                    <a:lnTo>
                      <a:pt x="1103446" y="259947"/>
                    </a:lnTo>
                    <a:lnTo>
                      <a:pt x="1111848" y="255635"/>
                    </a:lnTo>
                    <a:lnTo>
                      <a:pt x="1124981" y="254390"/>
                    </a:lnTo>
                    <a:lnTo>
                      <a:pt x="1641552" y="254390"/>
                    </a:lnTo>
                    <a:lnTo>
                      <a:pt x="1667429" y="251569"/>
                    </a:lnTo>
                    <a:lnTo>
                      <a:pt x="1713882" y="230293"/>
                    </a:lnTo>
                    <a:lnTo>
                      <a:pt x="1751692" y="191953"/>
                    </a:lnTo>
                    <a:lnTo>
                      <a:pt x="1771379" y="144693"/>
                    </a:lnTo>
                    <a:lnTo>
                      <a:pt x="1773841" y="118603"/>
                    </a:lnTo>
                    <a:lnTo>
                      <a:pt x="1771379" y="93647"/>
                    </a:lnTo>
                    <a:lnTo>
                      <a:pt x="1751692" y="51588"/>
                    </a:lnTo>
                    <a:lnTo>
                      <a:pt x="1713882" y="16812"/>
                    </a:lnTo>
                    <a:lnTo>
                      <a:pt x="1667429" y="1538"/>
                    </a:lnTo>
                    <a:lnTo>
                      <a:pt x="1641552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4" name="object 5"/>
              <p:cNvSpPr>
                <a:spLocks noChangeArrowheads="1"/>
              </p:cNvSpPr>
              <p:nvPr userDrawn="1"/>
            </p:nvSpPr>
            <p:spPr bwMode="auto">
              <a:xfrm>
                <a:off x="9083675" y="3970338"/>
                <a:ext cx="998538" cy="890587"/>
              </a:xfrm>
              <a:custGeom>
                <a:avLst/>
                <a:gdLst>
                  <a:gd name="T0" fmla="*/ 450405 w 998854"/>
                  <a:gd name="T1" fmla="*/ 8084 h 890904"/>
                  <a:gd name="T2" fmla="*/ 374033 w 998854"/>
                  <a:gd name="T3" fmla="*/ 70806 h 890904"/>
                  <a:gd name="T4" fmla="*/ 347642 w 998854"/>
                  <a:gd name="T5" fmla="*/ 159526 h 890904"/>
                  <a:gd name="T6" fmla="*/ 277862 w 998854"/>
                  <a:gd name="T7" fmla="*/ 222912 h 890904"/>
                  <a:gd name="T8" fmla="*/ 141754 w 998854"/>
                  <a:gd name="T9" fmla="*/ 225511 h 890904"/>
                  <a:gd name="T10" fmla="*/ 62594 w 998854"/>
                  <a:gd name="T11" fmla="*/ 242575 h 890904"/>
                  <a:gd name="T12" fmla="*/ 2558 w 998854"/>
                  <a:gd name="T13" fmla="*/ 325110 h 890904"/>
                  <a:gd name="T14" fmla="*/ 2558 w 998854"/>
                  <a:gd name="T15" fmla="*/ 380222 h 890904"/>
                  <a:gd name="T16" fmla="*/ 62594 w 998854"/>
                  <a:gd name="T17" fmla="*/ 467421 h 890904"/>
                  <a:gd name="T18" fmla="*/ 141754 w 998854"/>
                  <a:gd name="T19" fmla="*/ 488121 h 890904"/>
                  <a:gd name="T20" fmla="*/ 279459 w 998854"/>
                  <a:gd name="T21" fmla="*/ 490188 h 890904"/>
                  <a:gd name="T22" fmla="*/ 343964 w 998854"/>
                  <a:gd name="T23" fmla="*/ 535349 h 890904"/>
                  <a:gd name="T24" fmla="*/ 360512 w 998854"/>
                  <a:gd name="T25" fmla="*/ 594557 h 890904"/>
                  <a:gd name="T26" fmla="*/ 362958 w 998854"/>
                  <a:gd name="T27" fmla="*/ 779419 h 890904"/>
                  <a:gd name="T28" fmla="*/ 422324 w 998854"/>
                  <a:gd name="T29" fmla="*/ 867615 h 890904"/>
                  <a:gd name="T30" fmla="*/ 501178 w 998854"/>
                  <a:gd name="T31" fmla="*/ 890643 h 890904"/>
                  <a:gd name="T32" fmla="*/ 575418 w 998854"/>
                  <a:gd name="T33" fmla="*/ 867615 h 890904"/>
                  <a:gd name="T34" fmla="*/ 629664 w 998854"/>
                  <a:gd name="T35" fmla="*/ 779419 h 890904"/>
                  <a:gd name="T36" fmla="*/ 631321 w 998854"/>
                  <a:gd name="T37" fmla="*/ 594557 h 890904"/>
                  <a:gd name="T38" fmla="*/ 652012 w 998854"/>
                  <a:gd name="T39" fmla="*/ 535349 h 890904"/>
                  <a:gd name="T40" fmla="*/ 721407 w 998854"/>
                  <a:gd name="T41" fmla="*/ 490188 h 890904"/>
                  <a:gd name="T42" fmla="*/ 859910 w 998854"/>
                  <a:gd name="T43" fmla="*/ 488121 h 890904"/>
                  <a:gd name="T44" fmla="*/ 938137 w 998854"/>
                  <a:gd name="T45" fmla="*/ 466144 h 890904"/>
                  <a:gd name="T46" fmla="*/ 996030 w 998854"/>
                  <a:gd name="T47" fmla="*/ 379457 h 890904"/>
                  <a:gd name="T48" fmla="*/ 996030 w 998854"/>
                  <a:gd name="T49" fmla="*/ 324584 h 890904"/>
                  <a:gd name="T50" fmla="*/ 938137 w 998854"/>
                  <a:gd name="T51" fmla="*/ 242575 h 890904"/>
                  <a:gd name="T52" fmla="*/ 859910 w 998854"/>
                  <a:gd name="T53" fmla="*/ 225511 h 890904"/>
                  <a:gd name="T54" fmla="*/ 721897 w 998854"/>
                  <a:gd name="T55" fmla="*/ 222897 h 890904"/>
                  <a:gd name="T56" fmla="*/ 651219 w 998854"/>
                  <a:gd name="T57" fmla="*/ 160896 h 890904"/>
                  <a:gd name="T58" fmla="*/ 634188 w 998854"/>
                  <a:gd name="T59" fmla="*/ 96240 h 890904"/>
                  <a:gd name="T60" fmla="*/ 593741 w 998854"/>
                  <a:gd name="T61" fmla="*/ 33831 h 890904"/>
                  <a:gd name="T62" fmla="*/ 526699 w 998854"/>
                  <a:gd name="T63" fmla="*/ 2186 h 890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98854" h="890904">
                    <a:moveTo>
                      <a:pt x="500822" y="0"/>
                    </a:moveTo>
                    <a:lnTo>
                      <a:pt x="450405" y="8084"/>
                    </a:lnTo>
                    <a:lnTo>
                      <a:pt x="406333" y="32700"/>
                    </a:lnTo>
                    <a:lnTo>
                      <a:pt x="374033" y="70806"/>
                    </a:lnTo>
                    <a:lnTo>
                      <a:pt x="354637" y="139661"/>
                    </a:lnTo>
                    <a:lnTo>
                      <a:pt x="347642" y="159526"/>
                    </a:lnTo>
                    <a:lnTo>
                      <a:pt x="326011" y="192800"/>
                    </a:lnTo>
                    <a:lnTo>
                      <a:pt x="277862" y="222912"/>
                    </a:lnTo>
                    <a:lnTo>
                      <a:pt x="258285" y="225511"/>
                    </a:lnTo>
                    <a:lnTo>
                      <a:pt x="141754" y="225511"/>
                    </a:lnTo>
                    <a:lnTo>
                      <a:pt x="112996" y="227032"/>
                    </a:lnTo>
                    <a:lnTo>
                      <a:pt x="62594" y="242575"/>
                    </a:lnTo>
                    <a:lnTo>
                      <a:pt x="23032" y="279161"/>
                    </a:lnTo>
                    <a:lnTo>
                      <a:pt x="2558" y="325110"/>
                    </a:lnTo>
                    <a:lnTo>
                      <a:pt x="0" y="351905"/>
                    </a:lnTo>
                    <a:lnTo>
                      <a:pt x="2558" y="380222"/>
                    </a:lnTo>
                    <a:lnTo>
                      <a:pt x="23032" y="428725"/>
                    </a:lnTo>
                    <a:lnTo>
                      <a:pt x="62594" y="467421"/>
                    </a:lnTo>
                    <a:lnTo>
                      <a:pt x="112996" y="485994"/>
                    </a:lnTo>
                    <a:lnTo>
                      <a:pt x="141754" y="488121"/>
                    </a:lnTo>
                    <a:lnTo>
                      <a:pt x="258285" y="488121"/>
                    </a:lnTo>
                    <a:lnTo>
                      <a:pt x="279459" y="490188"/>
                    </a:lnTo>
                    <a:lnTo>
                      <a:pt x="316178" y="506011"/>
                    </a:lnTo>
                    <a:lnTo>
                      <a:pt x="343964" y="535349"/>
                    </a:lnTo>
                    <a:lnTo>
                      <a:pt x="358630" y="573211"/>
                    </a:lnTo>
                    <a:lnTo>
                      <a:pt x="360512" y="594557"/>
                    </a:lnTo>
                    <a:lnTo>
                      <a:pt x="360512" y="752050"/>
                    </a:lnTo>
                    <a:lnTo>
                      <a:pt x="362958" y="779419"/>
                    </a:lnTo>
                    <a:lnTo>
                      <a:pt x="382935" y="828247"/>
                    </a:lnTo>
                    <a:lnTo>
                      <a:pt x="422324" y="867615"/>
                    </a:lnTo>
                    <a:lnTo>
                      <a:pt x="472480" y="888086"/>
                    </a:lnTo>
                    <a:lnTo>
                      <a:pt x="501178" y="890643"/>
                    </a:lnTo>
                    <a:lnTo>
                      <a:pt x="529002" y="888086"/>
                    </a:lnTo>
                    <a:lnTo>
                      <a:pt x="575418" y="867615"/>
                    </a:lnTo>
                    <a:lnTo>
                      <a:pt x="613174" y="828247"/>
                    </a:lnTo>
                    <a:lnTo>
                      <a:pt x="629664" y="779419"/>
                    </a:lnTo>
                    <a:lnTo>
                      <a:pt x="631321" y="752050"/>
                    </a:lnTo>
                    <a:lnTo>
                      <a:pt x="631321" y="594557"/>
                    </a:lnTo>
                    <a:lnTo>
                      <a:pt x="633972" y="573211"/>
                    </a:lnTo>
                    <a:lnTo>
                      <a:pt x="652012" y="535349"/>
                    </a:lnTo>
                    <a:lnTo>
                      <a:pt x="681327" y="506011"/>
                    </a:lnTo>
                    <a:lnTo>
                      <a:pt x="721407" y="490188"/>
                    </a:lnTo>
                    <a:lnTo>
                      <a:pt x="743359" y="488121"/>
                    </a:lnTo>
                    <a:lnTo>
                      <a:pt x="859910" y="488121"/>
                    </a:lnTo>
                    <a:lnTo>
                      <a:pt x="888529" y="485758"/>
                    </a:lnTo>
                    <a:lnTo>
                      <a:pt x="938137" y="466144"/>
                    </a:lnTo>
                    <a:lnTo>
                      <a:pt x="976339" y="427350"/>
                    </a:lnTo>
                    <a:lnTo>
                      <a:pt x="996030" y="379457"/>
                    </a:lnTo>
                    <a:lnTo>
                      <a:pt x="998493" y="351277"/>
                    </a:lnTo>
                    <a:lnTo>
                      <a:pt x="996030" y="324584"/>
                    </a:lnTo>
                    <a:lnTo>
                      <a:pt x="976339" y="279064"/>
                    </a:lnTo>
                    <a:lnTo>
                      <a:pt x="938137" y="242575"/>
                    </a:lnTo>
                    <a:lnTo>
                      <a:pt x="888529" y="227032"/>
                    </a:lnTo>
                    <a:lnTo>
                      <a:pt x="859910" y="225511"/>
                    </a:lnTo>
                    <a:lnTo>
                      <a:pt x="740207" y="225511"/>
                    </a:lnTo>
                    <a:lnTo>
                      <a:pt x="721897" y="222897"/>
                    </a:lnTo>
                    <a:lnTo>
                      <a:pt x="674063" y="192706"/>
                    </a:lnTo>
                    <a:lnTo>
                      <a:pt x="651219" y="160896"/>
                    </a:lnTo>
                    <a:lnTo>
                      <a:pt x="639425" y="121964"/>
                    </a:lnTo>
                    <a:lnTo>
                      <a:pt x="634188" y="96240"/>
                    </a:lnTo>
                    <a:lnTo>
                      <a:pt x="624833" y="72785"/>
                    </a:lnTo>
                    <a:lnTo>
                      <a:pt x="593741" y="33831"/>
                    </a:lnTo>
                    <a:lnTo>
                      <a:pt x="550807" y="8650"/>
                    </a:lnTo>
                    <a:lnTo>
                      <a:pt x="526699" y="2186"/>
                    </a:lnTo>
                    <a:lnTo>
                      <a:pt x="500822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5" name="object 6"/>
              <p:cNvSpPr>
                <a:spLocks noChangeArrowheads="1"/>
              </p:cNvSpPr>
              <p:nvPr userDrawn="1"/>
            </p:nvSpPr>
            <p:spPr bwMode="auto">
              <a:xfrm>
                <a:off x="8713788" y="3270250"/>
                <a:ext cx="2439987" cy="2995613"/>
              </a:xfrm>
              <a:custGeom>
                <a:avLst/>
                <a:gdLst>
                  <a:gd name="T0" fmla="*/ 1306690 w 2439670"/>
                  <a:gd name="T1" fmla="*/ 42519 h 2995929"/>
                  <a:gd name="T2" fmla="*/ 1174064 w 2439670"/>
                  <a:gd name="T3" fmla="*/ 2667 h 2995929"/>
                  <a:gd name="T4" fmla="*/ 1061224 w 2439670"/>
                  <a:gd name="T5" fmla="*/ 117830 h 2995929"/>
                  <a:gd name="T6" fmla="*/ 1069505 w 2439670"/>
                  <a:gd name="T7" fmla="*/ 209080 h 2995929"/>
                  <a:gd name="T8" fmla="*/ 1204556 w 2439670"/>
                  <a:gd name="T9" fmla="*/ 299237 h 2995929"/>
                  <a:gd name="T10" fmla="*/ 1324762 w 2439670"/>
                  <a:gd name="T11" fmla="*/ 234175 h 2995929"/>
                  <a:gd name="T12" fmla="*/ 1345831 w 2439670"/>
                  <a:gd name="T13" fmla="*/ 148043 h 2995929"/>
                  <a:gd name="T14" fmla="*/ 1318056 w 2439670"/>
                  <a:gd name="T15" fmla="*/ 1288275 h 2995929"/>
                  <a:gd name="T16" fmla="*/ 1186611 w 2439670"/>
                  <a:gd name="T17" fmla="*/ 1249883 h 2995929"/>
                  <a:gd name="T18" fmla="*/ 1077620 w 2439670"/>
                  <a:gd name="T19" fmla="*/ 1360335 h 2995929"/>
                  <a:gd name="T20" fmla="*/ 1085354 w 2439670"/>
                  <a:gd name="T21" fmla="*/ 1448130 h 2995929"/>
                  <a:gd name="T22" fmla="*/ 1213916 w 2439670"/>
                  <a:gd name="T23" fmla="*/ 1533956 h 2995929"/>
                  <a:gd name="T24" fmla="*/ 1336421 w 2439670"/>
                  <a:gd name="T25" fmla="*/ 1471561 h 2995929"/>
                  <a:gd name="T26" fmla="*/ 1362252 w 2439670"/>
                  <a:gd name="T27" fmla="*/ 1389062 h 2995929"/>
                  <a:gd name="T28" fmla="*/ 2248712 w 2439670"/>
                  <a:gd name="T29" fmla="*/ 391464 h 2995929"/>
                  <a:gd name="T30" fmla="*/ 335203 w 2439670"/>
                  <a:gd name="T31" fmla="*/ 342874 h 2995929"/>
                  <a:gd name="T32" fmla="*/ 137947 w 2439670"/>
                  <a:gd name="T33" fmla="*/ 410489 h 2995929"/>
                  <a:gd name="T34" fmla="*/ 19570 w 2439670"/>
                  <a:gd name="T35" fmla="*/ 567309 h 2995929"/>
                  <a:gd name="T36" fmla="*/ 0 w 2439670"/>
                  <a:gd name="T37" fmla="*/ 2850565 h 2995929"/>
                  <a:gd name="T38" fmla="*/ 83870 w 2439670"/>
                  <a:gd name="T39" fmla="*/ 2985478 h 2995929"/>
                  <a:gd name="T40" fmla="*/ 218998 w 2439670"/>
                  <a:gd name="T41" fmla="*/ 2972435 h 2995929"/>
                  <a:gd name="T42" fmla="*/ 287223 w 2439670"/>
                  <a:gd name="T43" fmla="*/ 775119 h 2995929"/>
                  <a:gd name="T44" fmla="*/ 347002 w 2439670"/>
                  <a:gd name="T45" fmla="*/ 674839 h 2995929"/>
                  <a:gd name="T46" fmla="*/ 2146338 w 2439670"/>
                  <a:gd name="T47" fmla="*/ 654710 h 2995929"/>
                  <a:gd name="T48" fmla="*/ 2267318 w 2439670"/>
                  <a:gd name="T49" fmla="*/ 585000 h 2995929"/>
                  <a:gd name="T50" fmla="*/ 2412669 w 2439670"/>
                  <a:gd name="T51" fmla="*/ 1389062 h 2995929"/>
                  <a:gd name="T52" fmla="*/ 2334171 w 2439670"/>
                  <a:gd name="T53" fmla="*/ 1257579 h 2995929"/>
                  <a:gd name="T54" fmla="*/ 2208479 w 2439670"/>
                  <a:gd name="T55" fmla="*/ 1270368 h 2995929"/>
                  <a:gd name="T56" fmla="*/ 2150059 w 2439670"/>
                  <a:gd name="T57" fmla="*/ 1389062 h 2995929"/>
                  <a:gd name="T58" fmla="*/ 2187575 w 2439670"/>
                  <a:gd name="T59" fmla="*/ 1493012 h 2995929"/>
                  <a:gd name="T60" fmla="*/ 2311247 w 2439670"/>
                  <a:gd name="T61" fmla="*/ 1531404 h 2995929"/>
                  <a:gd name="T62" fmla="*/ 2411095 w 2439670"/>
                  <a:gd name="T63" fmla="*/ 1422730 h 2995929"/>
                  <a:gd name="T64" fmla="*/ 2439276 w 2439670"/>
                  <a:gd name="T65" fmla="*/ 1048258 h 2995929"/>
                  <a:gd name="T66" fmla="*/ 2352649 w 2439670"/>
                  <a:gd name="T67" fmla="*/ 932192 h 2995929"/>
                  <a:gd name="T68" fmla="*/ 2161400 w 2439670"/>
                  <a:gd name="T69" fmla="*/ 922909 h 2995929"/>
                  <a:gd name="T70" fmla="*/ 2080209 w 2439670"/>
                  <a:gd name="T71" fmla="*/ 821969 h 2995929"/>
                  <a:gd name="T72" fmla="*/ 2032952 w 2439670"/>
                  <a:gd name="T73" fmla="*/ 733844 h 2995929"/>
                  <a:gd name="T74" fmla="*/ 1912543 w 2439670"/>
                  <a:gd name="T75" fmla="*/ 702017 h 2995929"/>
                  <a:gd name="T76" fmla="*/ 1805076 w 2439670"/>
                  <a:gd name="T77" fmla="*/ 793673 h 2995929"/>
                  <a:gd name="T78" fmla="*/ 1766785 w 2439670"/>
                  <a:gd name="T79" fmla="*/ 892810 h 2995929"/>
                  <a:gd name="T80" fmla="*/ 1579384 w 2439670"/>
                  <a:gd name="T81" fmla="*/ 925525 h 2995929"/>
                  <a:gd name="T82" fmla="*/ 1462925 w 2439670"/>
                  <a:gd name="T83" fmla="*/ 979170 h 2995929"/>
                  <a:gd name="T84" fmla="*/ 1443240 w 2439670"/>
                  <a:gd name="T85" fmla="*/ 1080223 h 2995929"/>
                  <a:gd name="T86" fmla="*/ 1550720 w 2439670"/>
                  <a:gd name="T87" fmla="*/ 1186002 h 2995929"/>
                  <a:gd name="T88" fmla="*/ 1716227 w 2439670"/>
                  <a:gd name="T89" fmla="*/ 1190193 h 2995929"/>
                  <a:gd name="T90" fmla="*/ 1788985 w 2439670"/>
                  <a:gd name="T91" fmla="*/ 1294574 h 2995929"/>
                  <a:gd name="T92" fmla="*/ 1815706 w 2439670"/>
                  <a:gd name="T93" fmla="*/ 1528254 h 2995929"/>
                  <a:gd name="T94" fmla="*/ 1935734 w 2439670"/>
                  <a:gd name="T95" fmla="*/ 1590649 h 2995929"/>
                  <a:gd name="T96" fmla="*/ 2067928 w 2439670"/>
                  <a:gd name="T97" fmla="*/ 1528254 h 2995929"/>
                  <a:gd name="T98" fmla="*/ 2100821 w 2439670"/>
                  <a:gd name="T99" fmla="*/ 1294574 h 2995929"/>
                  <a:gd name="T100" fmla="*/ 2134654 w 2439670"/>
                  <a:gd name="T101" fmla="*/ 1206017 h 2995929"/>
                  <a:gd name="T102" fmla="*/ 2326271 w 2439670"/>
                  <a:gd name="T103" fmla="*/ 1185773 h 2995929"/>
                  <a:gd name="T104" fmla="*/ 2436711 w 2439670"/>
                  <a:gd name="T105" fmla="*/ 1076921 h 2995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39670" h="2995929">
                    <a:moveTo>
                      <a:pt x="1345831" y="148043"/>
                    </a:moveTo>
                    <a:lnTo>
                      <a:pt x="1336890" y="90170"/>
                    </a:lnTo>
                    <a:lnTo>
                      <a:pt x="1306690" y="42519"/>
                    </a:lnTo>
                    <a:lnTo>
                      <a:pt x="1259890" y="10629"/>
                    </a:lnTo>
                    <a:lnTo>
                      <a:pt x="1202880" y="0"/>
                    </a:lnTo>
                    <a:lnTo>
                      <a:pt x="1174064" y="2667"/>
                    </a:lnTo>
                    <a:lnTo>
                      <a:pt x="1123111" y="23914"/>
                    </a:lnTo>
                    <a:lnTo>
                      <a:pt x="1082268" y="65062"/>
                    </a:lnTo>
                    <a:lnTo>
                      <a:pt x="1061224" y="117830"/>
                    </a:lnTo>
                    <a:lnTo>
                      <a:pt x="1058621" y="148043"/>
                    </a:lnTo>
                    <a:lnTo>
                      <a:pt x="1058621" y="151193"/>
                    </a:lnTo>
                    <a:lnTo>
                      <a:pt x="1069505" y="209080"/>
                    </a:lnTo>
                    <a:lnTo>
                      <a:pt x="1101661" y="256705"/>
                    </a:lnTo>
                    <a:lnTo>
                      <a:pt x="1148765" y="288607"/>
                    </a:lnTo>
                    <a:lnTo>
                      <a:pt x="1204556" y="299237"/>
                    </a:lnTo>
                    <a:lnTo>
                      <a:pt x="1234236" y="296570"/>
                    </a:lnTo>
                    <a:lnTo>
                      <a:pt x="1284681" y="275310"/>
                    </a:lnTo>
                    <a:lnTo>
                      <a:pt x="1324762" y="234175"/>
                    </a:lnTo>
                    <a:lnTo>
                      <a:pt x="1343698" y="181419"/>
                    </a:lnTo>
                    <a:lnTo>
                      <a:pt x="1345831" y="151193"/>
                    </a:lnTo>
                    <a:lnTo>
                      <a:pt x="1345831" y="148043"/>
                    </a:lnTo>
                    <a:close/>
                  </a:path>
                  <a:path w="2439670" h="2995929">
                    <a:moveTo>
                      <a:pt x="1362252" y="1389062"/>
                    </a:moveTo>
                    <a:lnTo>
                      <a:pt x="1350378" y="1333957"/>
                    </a:lnTo>
                    <a:lnTo>
                      <a:pt x="1318056" y="1288275"/>
                    </a:lnTo>
                    <a:lnTo>
                      <a:pt x="1270736" y="1257579"/>
                    </a:lnTo>
                    <a:lnTo>
                      <a:pt x="1214005" y="1247317"/>
                    </a:lnTo>
                    <a:lnTo>
                      <a:pt x="1186611" y="1249883"/>
                    </a:lnTo>
                    <a:lnTo>
                      <a:pt x="1137640" y="1270368"/>
                    </a:lnTo>
                    <a:lnTo>
                      <a:pt x="1098219" y="1309941"/>
                    </a:lnTo>
                    <a:lnTo>
                      <a:pt x="1077620" y="1360335"/>
                    </a:lnTo>
                    <a:lnTo>
                      <a:pt x="1075029" y="1389062"/>
                    </a:lnTo>
                    <a:lnTo>
                      <a:pt x="1075029" y="1395361"/>
                    </a:lnTo>
                    <a:lnTo>
                      <a:pt x="1085354" y="1448130"/>
                    </a:lnTo>
                    <a:lnTo>
                      <a:pt x="1116164" y="1493012"/>
                    </a:lnTo>
                    <a:lnTo>
                      <a:pt x="1161097" y="1523733"/>
                    </a:lnTo>
                    <a:lnTo>
                      <a:pt x="1213916" y="1533956"/>
                    </a:lnTo>
                    <a:lnTo>
                      <a:pt x="1243152" y="1531404"/>
                    </a:lnTo>
                    <a:lnTo>
                      <a:pt x="1295831" y="1510931"/>
                    </a:lnTo>
                    <a:lnTo>
                      <a:pt x="1336421" y="1471561"/>
                    </a:lnTo>
                    <a:lnTo>
                      <a:pt x="1359179" y="1422730"/>
                    </a:lnTo>
                    <a:lnTo>
                      <a:pt x="1362252" y="1395361"/>
                    </a:lnTo>
                    <a:lnTo>
                      <a:pt x="1362252" y="1389062"/>
                    </a:lnTo>
                    <a:close/>
                  </a:path>
                  <a:path w="2439670" h="2995929">
                    <a:moveTo>
                      <a:pt x="2291232" y="503072"/>
                    </a:moveTo>
                    <a:lnTo>
                      <a:pt x="2280602" y="442163"/>
                    </a:lnTo>
                    <a:lnTo>
                      <a:pt x="2248712" y="391464"/>
                    </a:lnTo>
                    <a:lnTo>
                      <a:pt x="2201849" y="356539"/>
                    </a:lnTo>
                    <a:lnTo>
                      <a:pt x="2146338" y="342874"/>
                    </a:lnTo>
                    <a:lnTo>
                      <a:pt x="335203" y="342874"/>
                    </a:lnTo>
                    <a:lnTo>
                      <a:pt x="264706" y="352437"/>
                    </a:lnTo>
                    <a:lnTo>
                      <a:pt x="198196" y="376174"/>
                    </a:lnTo>
                    <a:lnTo>
                      <a:pt x="137947" y="410489"/>
                    </a:lnTo>
                    <a:lnTo>
                      <a:pt x="86385" y="454240"/>
                    </a:lnTo>
                    <a:lnTo>
                      <a:pt x="48247" y="506450"/>
                    </a:lnTo>
                    <a:lnTo>
                      <a:pt x="19570" y="567309"/>
                    </a:lnTo>
                    <a:lnTo>
                      <a:pt x="2692" y="634479"/>
                    </a:lnTo>
                    <a:lnTo>
                      <a:pt x="0" y="705548"/>
                    </a:lnTo>
                    <a:lnTo>
                      <a:pt x="0" y="2850565"/>
                    </a:lnTo>
                    <a:lnTo>
                      <a:pt x="10490" y="2907385"/>
                    </a:lnTo>
                    <a:lnTo>
                      <a:pt x="42608" y="2954159"/>
                    </a:lnTo>
                    <a:lnTo>
                      <a:pt x="83870" y="2985478"/>
                    </a:lnTo>
                    <a:lnTo>
                      <a:pt x="134353" y="2995917"/>
                    </a:lnTo>
                    <a:lnTo>
                      <a:pt x="164630" y="2993313"/>
                    </a:lnTo>
                    <a:lnTo>
                      <a:pt x="218998" y="2972435"/>
                    </a:lnTo>
                    <a:lnTo>
                      <a:pt x="260565" y="2932036"/>
                    </a:lnTo>
                    <a:lnTo>
                      <a:pt x="284022" y="2880220"/>
                    </a:lnTo>
                    <a:lnTo>
                      <a:pt x="287223" y="775119"/>
                    </a:lnTo>
                    <a:lnTo>
                      <a:pt x="289585" y="751357"/>
                    </a:lnTo>
                    <a:lnTo>
                      <a:pt x="308419" y="710996"/>
                    </a:lnTo>
                    <a:lnTo>
                      <a:pt x="347002" y="674839"/>
                    </a:lnTo>
                    <a:lnTo>
                      <a:pt x="395300" y="656666"/>
                    </a:lnTo>
                    <a:lnTo>
                      <a:pt x="423405" y="654710"/>
                    </a:lnTo>
                    <a:lnTo>
                      <a:pt x="2146338" y="654710"/>
                    </a:lnTo>
                    <a:lnTo>
                      <a:pt x="2175167" y="651357"/>
                    </a:lnTo>
                    <a:lnTo>
                      <a:pt x="2226360" y="626999"/>
                    </a:lnTo>
                    <a:lnTo>
                      <a:pt x="2267318" y="585000"/>
                    </a:lnTo>
                    <a:lnTo>
                      <a:pt x="2288578" y="532269"/>
                    </a:lnTo>
                    <a:lnTo>
                      <a:pt x="2291232" y="503072"/>
                    </a:lnTo>
                    <a:close/>
                  </a:path>
                  <a:path w="2439670" h="2995929">
                    <a:moveTo>
                      <a:pt x="2412669" y="1389062"/>
                    </a:moveTo>
                    <a:lnTo>
                      <a:pt x="2405138" y="1333957"/>
                    </a:lnTo>
                    <a:lnTo>
                      <a:pt x="2377148" y="1288275"/>
                    </a:lnTo>
                    <a:lnTo>
                      <a:pt x="2334171" y="1257579"/>
                    </a:lnTo>
                    <a:lnTo>
                      <a:pt x="2281783" y="1247317"/>
                    </a:lnTo>
                    <a:lnTo>
                      <a:pt x="2254948" y="1249883"/>
                    </a:lnTo>
                    <a:lnTo>
                      <a:pt x="2208479" y="1270368"/>
                    </a:lnTo>
                    <a:lnTo>
                      <a:pt x="2170188" y="1309941"/>
                    </a:lnTo>
                    <a:lnTo>
                      <a:pt x="2152078" y="1360335"/>
                    </a:lnTo>
                    <a:lnTo>
                      <a:pt x="2150059" y="1389062"/>
                    </a:lnTo>
                    <a:lnTo>
                      <a:pt x="2150059" y="1395361"/>
                    </a:lnTo>
                    <a:lnTo>
                      <a:pt x="2158581" y="1448130"/>
                    </a:lnTo>
                    <a:lnTo>
                      <a:pt x="2187575" y="1493012"/>
                    </a:lnTo>
                    <a:lnTo>
                      <a:pt x="2231593" y="1523733"/>
                    </a:lnTo>
                    <a:lnTo>
                      <a:pt x="2283498" y="1533956"/>
                    </a:lnTo>
                    <a:lnTo>
                      <a:pt x="2311247" y="1531404"/>
                    </a:lnTo>
                    <a:lnTo>
                      <a:pt x="2357323" y="1510931"/>
                    </a:lnTo>
                    <a:lnTo>
                      <a:pt x="2394928" y="1471561"/>
                    </a:lnTo>
                    <a:lnTo>
                      <a:pt x="2411095" y="1422730"/>
                    </a:lnTo>
                    <a:lnTo>
                      <a:pt x="2412669" y="1395361"/>
                    </a:lnTo>
                    <a:lnTo>
                      <a:pt x="2412669" y="1389062"/>
                    </a:lnTo>
                    <a:close/>
                  </a:path>
                  <a:path w="2439670" h="2995929">
                    <a:moveTo>
                      <a:pt x="2439276" y="1048258"/>
                    </a:moveTo>
                    <a:lnTo>
                      <a:pt x="2429027" y="999083"/>
                    </a:lnTo>
                    <a:lnTo>
                      <a:pt x="2398318" y="958545"/>
                    </a:lnTo>
                    <a:lnTo>
                      <a:pt x="2352649" y="932192"/>
                    </a:lnTo>
                    <a:lnTo>
                      <a:pt x="2297531" y="925525"/>
                    </a:lnTo>
                    <a:lnTo>
                      <a:pt x="2180983" y="925525"/>
                    </a:lnTo>
                    <a:lnTo>
                      <a:pt x="2161400" y="922909"/>
                    </a:lnTo>
                    <a:lnTo>
                      <a:pt x="2127529" y="905383"/>
                    </a:lnTo>
                    <a:lnTo>
                      <a:pt x="2091601" y="860907"/>
                    </a:lnTo>
                    <a:lnTo>
                      <a:pt x="2080209" y="821969"/>
                    </a:lnTo>
                    <a:lnTo>
                      <a:pt x="2074862" y="796251"/>
                    </a:lnTo>
                    <a:lnTo>
                      <a:pt x="2065210" y="772795"/>
                    </a:lnTo>
                    <a:lnTo>
                      <a:pt x="2032952" y="733844"/>
                    </a:lnTo>
                    <a:lnTo>
                      <a:pt x="1988845" y="708660"/>
                    </a:lnTo>
                    <a:lnTo>
                      <a:pt x="1938451" y="700011"/>
                    </a:lnTo>
                    <a:lnTo>
                      <a:pt x="1912543" y="702017"/>
                    </a:lnTo>
                    <a:lnTo>
                      <a:pt x="1866099" y="718299"/>
                    </a:lnTo>
                    <a:lnTo>
                      <a:pt x="1827898" y="750493"/>
                    </a:lnTo>
                    <a:lnTo>
                      <a:pt x="1805076" y="793673"/>
                    </a:lnTo>
                    <a:lnTo>
                      <a:pt x="1796618" y="839673"/>
                    </a:lnTo>
                    <a:lnTo>
                      <a:pt x="1790014" y="859536"/>
                    </a:lnTo>
                    <a:lnTo>
                      <a:pt x="1766785" y="892810"/>
                    </a:lnTo>
                    <a:lnTo>
                      <a:pt x="1734896" y="915860"/>
                    </a:lnTo>
                    <a:lnTo>
                      <a:pt x="1699069" y="925525"/>
                    </a:lnTo>
                    <a:lnTo>
                      <a:pt x="1579384" y="925525"/>
                    </a:lnTo>
                    <a:lnTo>
                      <a:pt x="1550720" y="927036"/>
                    </a:lnTo>
                    <a:lnTo>
                      <a:pt x="1501114" y="942581"/>
                    </a:lnTo>
                    <a:lnTo>
                      <a:pt x="1462925" y="979170"/>
                    </a:lnTo>
                    <a:lnTo>
                      <a:pt x="1443240" y="1025118"/>
                    </a:lnTo>
                    <a:lnTo>
                      <a:pt x="1440789" y="1051902"/>
                    </a:lnTo>
                    <a:lnTo>
                      <a:pt x="1443240" y="1080223"/>
                    </a:lnTo>
                    <a:lnTo>
                      <a:pt x="1462925" y="1128725"/>
                    </a:lnTo>
                    <a:lnTo>
                      <a:pt x="1501114" y="1167422"/>
                    </a:lnTo>
                    <a:lnTo>
                      <a:pt x="1550720" y="1186002"/>
                    </a:lnTo>
                    <a:lnTo>
                      <a:pt x="1579384" y="1188135"/>
                    </a:lnTo>
                    <a:lnTo>
                      <a:pt x="1695919" y="1188135"/>
                    </a:lnTo>
                    <a:lnTo>
                      <a:pt x="1716227" y="1190193"/>
                    </a:lnTo>
                    <a:lnTo>
                      <a:pt x="1764499" y="1219301"/>
                    </a:lnTo>
                    <a:lnTo>
                      <a:pt x="1784223" y="1253413"/>
                    </a:lnTo>
                    <a:lnTo>
                      <a:pt x="1788985" y="1294574"/>
                    </a:lnTo>
                    <a:lnTo>
                      <a:pt x="1788985" y="1452054"/>
                    </a:lnTo>
                    <a:lnTo>
                      <a:pt x="1792287" y="1479435"/>
                    </a:lnTo>
                    <a:lnTo>
                      <a:pt x="1815706" y="1528254"/>
                    </a:lnTo>
                    <a:lnTo>
                      <a:pt x="1855177" y="1567624"/>
                    </a:lnTo>
                    <a:lnTo>
                      <a:pt x="1906663" y="1588096"/>
                    </a:lnTo>
                    <a:lnTo>
                      <a:pt x="1935734" y="1590649"/>
                    </a:lnTo>
                    <a:lnTo>
                      <a:pt x="1966290" y="1588096"/>
                    </a:lnTo>
                    <a:lnTo>
                      <a:pt x="2024710" y="1567624"/>
                    </a:lnTo>
                    <a:lnTo>
                      <a:pt x="2067928" y="1528254"/>
                    </a:lnTo>
                    <a:lnTo>
                      <a:pt x="2096427" y="1479435"/>
                    </a:lnTo>
                    <a:lnTo>
                      <a:pt x="2100821" y="1452054"/>
                    </a:lnTo>
                    <a:lnTo>
                      <a:pt x="2100821" y="1294574"/>
                    </a:lnTo>
                    <a:lnTo>
                      <a:pt x="2101075" y="1273225"/>
                    </a:lnTo>
                    <a:lnTo>
                      <a:pt x="2108936" y="1235354"/>
                    </a:lnTo>
                    <a:lnTo>
                      <a:pt x="2134654" y="1206017"/>
                    </a:lnTo>
                    <a:lnTo>
                      <a:pt x="2184133" y="1188135"/>
                    </a:lnTo>
                    <a:lnTo>
                      <a:pt x="2297531" y="1188135"/>
                    </a:lnTo>
                    <a:lnTo>
                      <a:pt x="2326271" y="1185773"/>
                    </a:lnTo>
                    <a:lnTo>
                      <a:pt x="2376665" y="1166152"/>
                    </a:lnTo>
                    <a:lnTo>
                      <a:pt x="2416225" y="1126883"/>
                    </a:lnTo>
                    <a:lnTo>
                      <a:pt x="2436711" y="1076921"/>
                    </a:lnTo>
                    <a:lnTo>
                      <a:pt x="2439276" y="1048258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6" name="object 7"/>
              <p:cNvSpPr>
                <a:spLocks noChangeArrowheads="1"/>
              </p:cNvSpPr>
              <p:nvPr userDrawn="1"/>
            </p:nvSpPr>
            <p:spPr bwMode="auto">
              <a:xfrm>
                <a:off x="11455400" y="3736975"/>
                <a:ext cx="947738" cy="2436813"/>
              </a:xfrm>
              <a:custGeom>
                <a:avLst/>
                <a:gdLst>
                  <a:gd name="T0" fmla="*/ 413225 w 948054"/>
                  <a:gd name="T1" fmla="*/ 11223 h 2436495"/>
                  <a:gd name="T2" fmla="*/ 324716 w 948054"/>
                  <a:gd name="T3" fmla="*/ 95209 h 2436495"/>
                  <a:gd name="T4" fmla="*/ 311215 w 948054"/>
                  <a:gd name="T5" fmla="*/ 362502 h 2436495"/>
                  <a:gd name="T6" fmla="*/ 294023 w 948054"/>
                  <a:gd name="T7" fmla="*/ 430568 h 2436495"/>
                  <a:gd name="T8" fmla="*/ 217799 w 948054"/>
                  <a:gd name="T9" fmla="*/ 481351 h 2436495"/>
                  <a:gd name="T10" fmla="*/ 156288 w 948054"/>
                  <a:gd name="T11" fmla="*/ 483189 h 2436495"/>
                  <a:gd name="T12" fmla="*/ 68680 w 948054"/>
                  <a:gd name="T13" fmla="*/ 510842 h 2436495"/>
                  <a:gd name="T14" fmla="*/ 2804 w 948054"/>
                  <a:gd name="T15" fmla="*/ 611639 h 2436495"/>
                  <a:gd name="T16" fmla="*/ 2804 w 948054"/>
                  <a:gd name="T17" fmla="*/ 675928 h 2436495"/>
                  <a:gd name="T18" fmla="*/ 68680 w 948054"/>
                  <a:gd name="T19" fmla="*/ 776645 h 2436495"/>
                  <a:gd name="T20" fmla="*/ 156288 w 948054"/>
                  <a:gd name="T21" fmla="*/ 803242 h 2436495"/>
                  <a:gd name="T22" fmla="*/ 217799 w 948054"/>
                  <a:gd name="T23" fmla="*/ 805393 h 2436495"/>
                  <a:gd name="T24" fmla="*/ 294023 w 948054"/>
                  <a:gd name="T25" fmla="*/ 858157 h 2436495"/>
                  <a:gd name="T26" fmla="*/ 311215 w 948054"/>
                  <a:gd name="T27" fmla="*/ 927856 h 2436495"/>
                  <a:gd name="T28" fmla="*/ 304074 w 948054"/>
                  <a:gd name="T29" fmla="*/ 1157861 h 2436495"/>
                  <a:gd name="T30" fmla="*/ 239898 w 948054"/>
                  <a:gd name="T31" fmla="*/ 1228039 h 2436495"/>
                  <a:gd name="T32" fmla="*/ 156288 w 948054"/>
                  <a:gd name="T33" fmla="*/ 1238171 h 2436495"/>
                  <a:gd name="T34" fmla="*/ 68680 w 948054"/>
                  <a:gd name="T35" fmla="*/ 1261734 h 2436495"/>
                  <a:gd name="T36" fmla="*/ 2804 w 948054"/>
                  <a:gd name="T37" fmla="*/ 1359734 h 2436495"/>
                  <a:gd name="T38" fmla="*/ 2804 w 948054"/>
                  <a:gd name="T39" fmla="*/ 1422928 h 2436495"/>
                  <a:gd name="T40" fmla="*/ 68680 w 948054"/>
                  <a:gd name="T41" fmla="*/ 1519070 h 2436495"/>
                  <a:gd name="T42" fmla="*/ 156288 w 948054"/>
                  <a:gd name="T43" fmla="*/ 1541806 h 2436495"/>
                  <a:gd name="T44" fmla="*/ 217799 w 948054"/>
                  <a:gd name="T45" fmla="*/ 1544482 h 2436495"/>
                  <a:gd name="T46" fmla="*/ 294023 w 948054"/>
                  <a:gd name="T47" fmla="*/ 1600613 h 2436495"/>
                  <a:gd name="T48" fmla="*/ 311215 w 948054"/>
                  <a:gd name="T49" fmla="*/ 1673153 h 2436495"/>
                  <a:gd name="T50" fmla="*/ 304074 w 948054"/>
                  <a:gd name="T51" fmla="*/ 2029925 h 2436495"/>
                  <a:gd name="T52" fmla="*/ 239898 w 948054"/>
                  <a:gd name="T53" fmla="*/ 2098915 h 2436495"/>
                  <a:gd name="T54" fmla="*/ 166277 w 948054"/>
                  <a:gd name="T55" fmla="*/ 2108040 h 2436495"/>
                  <a:gd name="T56" fmla="*/ 79581 w 948054"/>
                  <a:gd name="T57" fmla="*/ 2134010 h 2436495"/>
                  <a:gd name="T58" fmla="*/ 15998 w 948054"/>
                  <a:gd name="T59" fmla="*/ 2233658 h 2436495"/>
                  <a:gd name="T60" fmla="*/ 15998 w 948054"/>
                  <a:gd name="T61" fmla="*/ 2298509 h 2436495"/>
                  <a:gd name="T62" fmla="*/ 79581 w 948054"/>
                  <a:gd name="T63" fmla="*/ 2405467 h 2436495"/>
                  <a:gd name="T64" fmla="*/ 166277 w 948054"/>
                  <a:gd name="T65" fmla="*/ 2436292 h 2436495"/>
                  <a:gd name="T66" fmla="*/ 381180 w 948054"/>
                  <a:gd name="T67" fmla="*/ 2427407 h 2436495"/>
                  <a:gd name="T68" fmla="*/ 495083 w 948054"/>
                  <a:gd name="T69" fmla="*/ 2375209 h 2436495"/>
                  <a:gd name="T70" fmla="*/ 581788 w 948054"/>
                  <a:gd name="T71" fmla="*/ 2288016 h 2436495"/>
                  <a:gd name="T72" fmla="*/ 632161 w 948054"/>
                  <a:gd name="T73" fmla="*/ 2174440 h 2436495"/>
                  <a:gd name="T74" fmla="*/ 639467 w 948054"/>
                  <a:gd name="T75" fmla="*/ 1639887 h 2436495"/>
                  <a:gd name="T76" fmla="*/ 663937 w 948054"/>
                  <a:gd name="T77" fmla="*/ 1572559 h 2436495"/>
                  <a:gd name="T78" fmla="*/ 728312 w 948054"/>
                  <a:gd name="T79" fmla="*/ 1541806 h 2436495"/>
                  <a:gd name="T80" fmla="*/ 829829 w 948054"/>
                  <a:gd name="T81" fmla="*/ 1539183 h 2436495"/>
                  <a:gd name="T82" fmla="*/ 924409 w 948054"/>
                  <a:gd name="T83" fmla="*/ 1471028 h 2436495"/>
                  <a:gd name="T84" fmla="*/ 947803 w 948054"/>
                  <a:gd name="T85" fmla="*/ 1382575 h 2436495"/>
                  <a:gd name="T86" fmla="*/ 924409 w 948054"/>
                  <a:gd name="T87" fmla="*/ 1299069 h 2436495"/>
                  <a:gd name="T88" fmla="*/ 829829 w 948054"/>
                  <a:gd name="T89" fmla="*/ 1240361 h 2436495"/>
                  <a:gd name="T90" fmla="*/ 761557 w 948054"/>
                  <a:gd name="T91" fmla="*/ 1238171 h 2436495"/>
                  <a:gd name="T92" fmla="*/ 692899 w 948054"/>
                  <a:gd name="T93" fmla="*/ 1215921 h 2436495"/>
                  <a:gd name="T94" fmla="*/ 641414 w 948054"/>
                  <a:gd name="T95" fmla="*/ 1133680 h 2436495"/>
                  <a:gd name="T96" fmla="*/ 639467 w 948054"/>
                  <a:gd name="T97" fmla="*/ 894601 h 2436495"/>
                  <a:gd name="T98" fmla="*/ 692795 w 948054"/>
                  <a:gd name="T99" fmla="*/ 809881 h 2436495"/>
                  <a:gd name="T100" fmla="*/ 798143 w 948054"/>
                  <a:gd name="T101" fmla="*/ 803242 h 2436495"/>
                  <a:gd name="T102" fmla="*/ 883871 w 948054"/>
                  <a:gd name="T103" fmla="*/ 775381 h 2436495"/>
                  <a:gd name="T104" fmla="*/ 945201 w 948054"/>
                  <a:gd name="T105" fmla="*/ 671166 h 2436495"/>
                  <a:gd name="T106" fmla="*/ 945201 w 948054"/>
                  <a:gd name="T107" fmla="*/ 606801 h 2436495"/>
                  <a:gd name="T108" fmla="*/ 883871 w 948054"/>
                  <a:gd name="T109" fmla="*/ 509163 h 2436495"/>
                  <a:gd name="T110" fmla="*/ 798143 w 948054"/>
                  <a:gd name="T111" fmla="*/ 483189 h 2436495"/>
                  <a:gd name="T112" fmla="*/ 736319 w 948054"/>
                  <a:gd name="T113" fmla="*/ 481351 h 2436495"/>
                  <a:gd name="T114" fmla="*/ 658228 w 948054"/>
                  <a:gd name="T115" fmla="*/ 430568 h 2436495"/>
                  <a:gd name="T116" fmla="*/ 639467 w 948054"/>
                  <a:gd name="T117" fmla="*/ 362502 h 2436495"/>
                  <a:gd name="T118" fmla="*/ 636219 w 948054"/>
                  <a:gd name="T119" fmla="*/ 124412 h 2436495"/>
                  <a:gd name="T120" fmla="*/ 566059 w 948054"/>
                  <a:gd name="T121" fmla="*/ 25254 h 2436495"/>
                  <a:gd name="T122" fmla="*/ 476634 w 948054"/>
                  <a:gd name="T123" fmla="*/ 0 h 2436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48054" h="2436495">
                    <a:moveTo>
                      <a:pt x="476634" y="0"/>
                    </a:moveTo>
                    <a:lnTo>
                      <a:pt x="413225" y="11223"/>
                    </a:lnTo>
                    <a:lnTo>
                      <a:pt x="360669" y="44899"/>
                    </a:lnTo>
                    <a:lnTo>
                      <a:pt x="324716" y="95209"/>
                    </a:lnTo>
                    <a:lnTo>
                      <a:pt x="311215" y="156309"/>
                    </a:lnTo>
                    <a:lnTo>
                      <a:pt x="311215" y="362502"/>
                    </a:lnTo>
                    <a:lnTo>
                      <a:pt x="309555" y="387630"/>
                    </a:lnTo>
                    <a:lnTo>
                      <a:pt x="294023" y="430568"/>
                    </a:lnTo>
                    <a:lnTo>
                      <a:pt x="259931" y="465020"/>
                    </a:lnTo>
                    <a:lnTo>
                      <a:pt x="217799" y="481351"/>
                    </a:lnTo>
                    <a:lnTo>
                      <a:pt x="192884" y="483189"/>
                    </a:lnTo>
                    <a:lnTo>
                      <a:pt x="156288" y="483189"/>
                    </a:lnTo>
                    <a:lnTo>
                      <a:pt x="124373" y="486440"/>
                    </a:lnTo>
                    <a:lnTo>
                      <a:pt x="68680" y="510842"/>
                    </a:lnTo>
                    <a:lnTo>
                      <a:pt x="25245" y="554948"/>
                    </a:lnTo>
                    <a:lnTo>
                      <a:pt x="2804" y="611639"/>
                    </a:lnTo>
                    <a:lnTo>
                      <a:pt x="0" y="643760"/>
                    </a:lnTo>
                    <a:lnTo>
                      <a:pt x="2804" y="675928"/>
                    </a:lnTo>
                    <a:lnTo>
                      <a:pt x="25245" y="732712"/>
                    </a:lnTo>
                    <a:lnTo>
                      <a:pt x="68680" y="776645"/>
                    </a:lnTo>
                    <a:lnTo>
                      <a:pt x="124373" y="800188"/>
                    </a:lnTo>
                    <a:lnTo>
                      <a:pt x="156288" y="803242"/>
                    </a:lnTo>
                    <a:lnTo>
                      <a:pt x="192884" y="803242"/>
                    </a:lnTo>
                    <a:lnTo>
                      <a:pt x="217799" y="805393"/>
                    </a:lnTo>
                    <a:lnTo>
                      <a:pt x="259931" y="823085"/>
                    </a:lnTo>
                    <a:lnTo>
                      <a:pt x="294023" y="858157"/>
                    </a:lnTo>
                    <a:lnTo>
                      <a:pt x="309555" y="902445"/>
                    </a:lnTo>
                    <a:lnTo>
                      <a:pt x="311215" y="927856"/>
                    </a:lnTo>
                    <a:lnTo>
                      <a:pt x="311215" y="1107788"/>
                    </a:lnTo>
                    <a:lnTo>
                      <a:pt x="304074" y="1157861"/>
                    </a:lnTo>
                    <a:lnTo>
                      <a:pt x="278651" y="1199586"/>
                    </a:lnTo>
                    <a:lnTo>
                      <a:pt x="239898" y="1228039"/>
                    </a:lnTo>
                    <a:lnTo>
                      <a:pt x="192884" y="1238171"/>
                    </a:lnTo>
                    <a:lnTo>
                      <a:pt x="156288" y="1238171"/>
                    </a:lnTo>
                    <a:lnTo>
                      <a:pt x="124373" y="1240664"/>
                    </a:lnTo>
                    <a:lnTo>
                      <a:pt x="68680" y="1261734"/>
                    </a:lnTo>
                    <a:lnTo>
                      <a:pt x="25245" y="1304709"/>
                    </a:lnTo>
                    <a:lnTo>
                      <a:pt x="2804" y="1359734"/>
                    </a:lnTo>
                    <a:lnTo>
                      <a:pt x="0" y="1391475"/>
                    </a:lnTo>
                    <a:lnTo>
                      <a:pt x="2804" y="1422928"/>
                    </a:lnTo>
                    <a:lnTo>
                      <a:pt x="25245" y="1476566"/>
                    </a:lnTo>
                    <a:lnTo>
                      <a:pt x="68680" y="1519070"/>
                    </a:lnTo>
                    <a:lnTo>
                      <a:pt x="124373" y="1539467"/>
                    </a:lnTo>
                    <a:lnTo>
                      <a:pt x="156288" y="1541806"/>
                    </a:lnTo>
                    <a:lnTo>
                      <a:pt x="192884" y="1541806"/>
                    </a:lnTo>
                    <a:lnTo>
                      <a:pt x="217799" y="1544482"/>
                    </a:lnTo>
                    <a:lnTo>
                      <a:pt x="259931" y="1564485"/>
                    </a:lnTo>
                    <a:lnTo>
                      <a:pt x="294023" y="1600613"/>
                    </a:lnTo>
                    <a:lnTo>
                      <a:pt x="309555" y="1647216"/>
                    </a:lnTo>
                    <a:lnTo>
                      <a:pt x="311215" y="1673153"/>
                    </a:lnTo>
                    <a:lnTo>
                      <a:pt x="311215" y="1983363"/>
                    </a:lnTo>
                    <a:lnTo>
                      <a:pt x="304074" y="2029925"/>
                    </a:lnTo>
                    <a:lnTo>
                      <a:pt x="278651" y="2070659"/>
                    </a:lnTo>
                    <a:lnTo>
                      <a:pt x="239898" y="2098915"/>
                    </a:lnTo>
                    <a:lnTo>
                      <a:pt x="192884" y="2108040"/>
                    </a:lnTo>
                    <a:lnTo>
                      <a:pt x="166277" y="2108040"/>
                    </a:lnTo>
                    <a:lnTo>
                      <a:pt x="134452" y="2110978"/>
                    </a:lnTo>
                    <a:lnTo>
                      <a:pt x="79581" y="2134010"/>
                    </a:lnTo>
                    <a:lnTo>
                      <a:pt x="37611" y="2177657"/>
                    </a:lnTo>
                    <a:lnTo>
                      <a:pt x="15998" y="2233658"/>
                    </a:lnTo>
                    <a:lnTo>
                      <a:pt x="13298" y="2265627"/>
                    </a:lnTo>
                    <a:lnTo>
                      <a:pt x="15998" y="2298509"/>
                    </a:lnTo>
                    <a:lnTo>
                      <a:pt x="37611" y="2358836"/>
                    </a:lnTo>
                    <a:lnTo>
                      <a:pt x="79581" y="2405467"/>
                    </a:lnTo>
                    <a:lnTo>
                      <a:pt x="134452" y="2432526"/>
                    </a:lnTo>
                    <a:lnTo>
                      <a:pt x="166277" y="2436292"/>
                    </a:lnTo>
                    <a:lnTo>
                      <a:pt x="319257" y="2436292"/>
                    </a:lnTo>
                    <a:lnTo>
                      <a:pt x="381180" y="2427407"/>
                    </a:lnTo>
                    <a:lnTo>
                      <a:pt x="440646" y="2406052"/>
                    </a:lnTo>
                    <a:lnTo>
                      <a:pt x="495083" y="2375209"/>
                    </a:lnTo>
                    <a:lnTo>
                      <a:pt x="542067" y="2335216"/>
                    </a:lnTo>
                    <a:lnTo>
                      <a:pt x="581788" y="2288016"/>
                    </a:lnTo>
                    <a:lnTo>
                      <a:pt x="612400" y="2234109"/>
                    </a:lnTo>
                    <a:lnTo>
                      <a:pt x="632161" y="2174440"/>
                    </a:lnTo>
                    <a:lnTo>
                      <a:pt x="639467" y="2109736"/>
                    </a:lnTo>
                    <a:lnTo>
                      <a:pt x="639467" y="1639887"/>
                    </a:lnTo>
                    <a:lnTo>
                      <a:pt x="640792" y="1621739"/>
                    </a:lnTo>
                    <a:lnTo>
                      <a:pt x="663937" y="1572559"/>
                    </a:lnTo>
                    <a:lnTo>
                      <a:pt x="709522" y="1543967"/>
                    </a:lnTo>
                    <a:lnTo>
                      <a:pt x="728312" y="1541806"/>
                    </a:lnTo>
                    <a:lnTo>
                      <a:pt x="798143" y="1541806"/>
                    </a:lnTo>
                    <a:lnTo>
                      <a:pt x="829829" y="1539183"/>
                    </a:lnTo>
                    <a:lnTo>
                      <a:pt x="883871" y="1516786"/>
                    </a:lnTo>
                    <a:lnTo>
                      <a:pt x="924409" y="1471028"/>
                    </a:lnTo>
                    <a:lnTo>
                      <a:pt x="945201" y="1414514"/>
                    </a:lnTo>
                    <a:lnTo>
                      <a:pt x="947803" y="1382575"/>
                    </a:lnTo>
                    <a:lnTo>
                      <a:pt x="945201" y="1351300"/>
                    </a:lnTo>
                    <a:lnTo>
                      <a:pt x="924409" y="1299069"/>
                    </a:lnTo>
                    <a:lnTo>
                      <a:pt x="883871" y="1259348"/>
                    </a:lnTo>
                    <a:lnTo>
                      <a:pt x="829829" y="1240361"/>
                    </a:lnTo>
                    <a:lnTo>
                      <a:pt x="798143" y="1238171"/>
                    </a:lnTo>
                    <a:lnTo>
                      <a:pt x="761557" y="1238171"/>
                    </a:lnTo>
                    <a:lnTo>
                      <a:pt x="736319" y="1235578"/>
                    </a:lnTo>
                    <a:lnTo>
                      <a:pt x="692899" y="1215921"/>
                    </a:lnTo>
                    <a:lnTo>
                      <a:pt x="658228" y="1179955"/>
                    </a:lnTo>
                    <a:lnTo>
                      <a:pt x="641414" y="1133680"/>
                    </a:lnTo>
                    <a:lnTo>
                      <a:pt x="639467" y="1107788"/>
                    </a:lnTo>
                    <a:lnTo>
                      <a:pt x="639467" y="894601"/>
                    </a:lnTo>
                    <a:lnTo>
                      <a:pt x="652618" y="845152"/>
                    </a:lnTo>
                    <a:lnTo>
                      <a:pt x="692795" y="809881"/>
                    </a:lnTo>
                    <a:lnTo>
                      <a:pt x="728312" y="803242"/>
                    </a:lnTo>
                    <a:lnTo>
                      <a:pt x="798143" y="803242"/>
                    </a:lnTo>
                    <a:lnTo>
                      <a:pt x="829829" y="800092"/>
                    </a:lnTo>
                    <a:lnTo>
                      <a:pt x="883871" y="775381"/>
                    </a:lnTo>
                    <a:lnTo>
                      <a:pt x="924409" y="728839"/>
                    </a:lnTo>
                    <a:lnTo>
                      <a:pt x="945201" y="671166"/>
                    </a:lnTo>
                    <a:lnTo>
                      <a:pt x="947803" y="638964"/>
                    </a:lnTo>
                    <a:lnTo>
                      <a:pt x="945201" y="606801"/>
                    </a:lnTo>
                    <a:lnTo>
                      <a:pt x="924409" y="550660"/>
                    </a:lnTo>
                    <a:lnTo>
                      <a:pt x="883871" y="509163"/>
                    </a:lnTo>
                    <a:lnTo>
                      <a:pt x="829829" y="486267"/>
                    </a:lnTo>
                    <a:lnTo>
                      <a:pt x="798143" y="483189"/>
                    </a:lnTo>
                    <a:lnTo>
                      <a:pt x="761557" y="483189"/>
                    </a:lnTo>
                    <a:lnTo>
                      <a:pt x="736319" y="481351"/>
                    </a:lnTo>
                    <a:lnTo>
                      <a:pt x="692899" y="465020"/>
                    </a:lnTo>
                    <a:lnTo>
                      <a:pt x="658228" y="430568"/>
                    </a:lnTo>
                    <a:lnTo>
                      <a:pt x="641414" y="387630"/>
                    </a:lnTo>
                    <a:lnTo>
                      <a:pt x="639467" y="362502"/>
                    </a:lnTo>
                    <a:lnTo>
                      <a:pt x="639467" y="156309"/>
                    </a:lnTo>
                    <a:lnTo>
                      <a:pt x="636219" y="124412"/>
                    </a:lnTo>
                    <a:lnTo>
                      <a:pt x="611465" y="68703"/>
                    </a:lnTo>
                    <a:lnTo>
                      <a:pt x="566059" y="25254"/>
                    </a:lnTo>
                    <a:lnTo>
                      <a:pt x="508792" y="2805"/>
                    </a:lnTo>
                    <a:lnTo>
                      <a:pt x="476634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7" name="object 8"/>
              <p:cNvSpPr>
                <a:spLocks noChangeArrowheads="1"/>
              </p:cNvSpPr>
              <p:nvPr userDrawn="1"/>
            </p:nvSpPr>
            <p:spPr bwMode="auto">
              <a:xfrm>
                <a:off x="12174538" y="3443288"/>
                <a:ext cx="2033587" cy="2806700"/>
              </a:xfrm>
              <a:custGeom>
                <a:avLst/>
                <a:gdLst>
                  <a:gd name="T0" fmla="*/ 1609966 w 2033905"/>
                  <a:gd name="T1" fmla="*/ 2058797 h 2806700"/>
                  <a:gd name="T2" fmla="*/ 1609991 w 2033905"/>
                  <a:gd name="T3" fmla="*/ 2362441 h 2806700"/>
                  <a:gd name="T4" fmla="*/ 1578444 w 2033905"/>
                  <a:gd name="T5" fmla="*/ 2062302 h 2806700"/>
                  <a:gd name="T6" fmla="*/ 1485773 w 2033905"/>
                  <a:gd name="T7" fmla="*/ 2294763 h 2806700"/>
                  <a:gd name="T8" fmla="*/ 1732178 w 2033905"/>
                  <a:gd name="T9" fmla="*/ 2295194 h 2806700"/>
                  <a:gd name="T10" fmla="*/ 1939251 w 2033905"/>
                  <a:gd name="T11" fmla="*/ 1193800 h 2806700"/>
                  <a:gd name="T12" fmla="*/ 1766900 w 2033905"/>
                  <a:gd name="T13" fmla="*/ 1130300 h 2806700"/>
                  <a:gd name="T14" fmla="*/ 1730527 w 2033905"/>
                  <a:gd name="T15" fmla="*/ 952500 h 2806700"/>
                  <a:gd name="T16" fmla="*/ 1544942 w 2033905"/>
                  <a:gd name="T17" fmla="*/ 749300 h 2806700"/>
                  <a:gd name="T18" fmla="*/ 1437030 w 2033905"/>
                  <a:gd name="T19" fmla="*/ 1600200 h 2806700"/>
                  <a:gd name="T20" fmla="*/ 1204328 w 2033905"/>
                  <a:gd name="T21" fmla="*/ 1612900 h 2806700"/>
                  <a:gd name="T22" fmla="*/ 1193482 w 2033905"/>
                  <a:gd name="T23" fmla="*/ 1524000 h 2806700"/>
                  <a:gd name="T24" fmla="*/ 1420291 w 2033905"/>
                  <a:gd name="T25" fmla="*/ 1485900 h 2806700"/>
                  <a:gd name="T26" fmla="*/ 1439456 w 2033905"/>
                  <a:gd name="T27" fmla="*/ 736600 h 2806700"/>
                  <a:gd name="T28" fmla="*/ 1423530 w 2033905"/>
                  <a:gd name="T29" fmla="*/ 1181100 h 2806700"/>
                  <a:gd name="T30" fmla="*/ 1193139 w 2033905"/>
                  <a:gd name="T31" fmla="*/ 1130300 h 2806700"/>
                  <a:gd name="T32" fmla="*/ 1211541 w 2033905"/>
                  <a:gd name="T33" fmla="*/ 1054100 h 2806700"/>
                  <a:gd name="T34" fmla="*/ 1439329 w 2033905"/>
                  <a:gd name="T35" fmla="*/ 736600 h 2806700"/>
                  <a:gd name="T36" fmla="*/ 1194003 w 2033905"/>
                  <a:gd name="T37" fmla="*/ 685800 h 2806700"/>
                  <a:gd name="T38" fmla="*/ 1794687 w 2033905"/>
                  <a:gd name="T39" fmla="*/ 571500 h 2806700"/>
                  <a:gd name="T40" fmla="*/ 1914436 w 2033905"/>
                  <a:gd name="T41" fmla="*/ 457200 h 2806700"/>
                  <a:gd name="T42" fmla="*/ 1276794 w 2033905"/>
                  <a:gd name="T43" fmla="*/ 266700 h 2806700"/>
                  <a:gd name="T44" fmla="*/ 1194625 w 2033905"/>
                  <a:gd name="T45" fmla="*/ 177800 h 2806700"/>
                  <a:gd name="T46" fmla="*/ 1096949 w 2033905"/>
                  <a:gd name="T47" fmla="*/ 12700 h 2806700"/>
                  <a:gd name="T48" fmla="*/ 905916 w 2033905"/>
                  <a:gd name="T49" fmla="*/ 152400 h 2806700"/>
                  <a:gd name="T50" fmla="*/ 846226 w 2033905"/>
                  <a:gd name="T51" fmla="*/ 254000 h 2806700"/>
                  <a:gd name="T52" fmla="*/ 212852 w 2033905"/>
                  <a:gd name="T53" fmla="*/ 317500 h 2806700"/>
                  <a:gd name="T54" fmla="*/ 181660 w 2033905"/>
                  <a:gd name="T55" fmla="*/ 482600 h 2806700"/>
                  <a:gd name="T56" fmla="*/ 317601 w 2033905"/>
                  <a:gd name="T57" fmla="*/ 584200 h 2806700"/>
                  <a:gd name="T58" fmla="*/ 895604 w 2033905"/>
                  <a:gd name="T59" fmla="*/ 698500 h 2806700"/>
                  <a:gd name="T60" fmla="*/ 452272 w 2033905"/>
                  <a:gd name="T61" fmla="*/ 749300 h 2806700"/>
                  <a:gd name="T62" fmla="*/ 360832 w 2033905"/>
                  <a:gd name="T63" fmla="*/ 889000 h 2806700"/>
                  <a:gd name="T64" fmla="*/ 452272 w 2033905"/>
                  <a:gd name="T65" fmla="*/ 1028700 h 2806700"/>
                  <a:gd name="T66" fmla="*/ 905916 w 2033905"/>
                  <a:gd name="T67" fmla="*/ 1130300 h 2806700"/>
                  <a:gd name="T68" fmla="*/ 285584 w 2033905"/>
                  <a:gd name="T69" fmla="*/ 1193800 h 2806700"/>
                  <a:gd name="T70" fmla="*/ 191223 w 2033905"/>
                  <a:gd name="T71" fmla="*/ 1333500 h 2806700"/>
                  <a:gd name="T72" fmla="*/ 862914 w 2033905"/>
                  <a:gd name="T73" fmla="*/ 1485900 h 2806700"/>
                  <a:gd name="T74" fmla="*/ 905916 w 2033905"/>
                  <a:gd name="T75" fmla="*/ 1524000 h 2806700"/>
                  <a:gd name="T76" fmla="*/ 874191 w 2033905"/>
                  <a:gd name="T77" fmla="*/ 1612900 h 2806700"/>
                  <a:gd name="T78" fmla="*/ 360832 w 2033905"/>
                  <a:gd name="T79" fmla="*/ 1765300 h 2806700"/>
                  <a:gd name="T80" fmla="*/ 510489 w 2033905"/>
                  <a:gd name="T81" fmla="*/ 1905000 h 2806700"/>
                  <a:gd name="T82" fmla="*/ 890612 w 2033905"/>
                  <a:gd name="T83" fmla="*/ 2006600 h 2806700"/>
                  <a:gd name="T84" fmla="*/ 862076 w 2033905"/>
                  <a:gd name="T85" fmla="*/ 2451100 h 2806700"/>
                  <a:gd name="T86" fmla="*/ 654888 w 2033905"/>
                  <a:gd name="T87" fmla="*/ 2463800 h 2806700"/>
                  <a:gd name="T88" fmla="*/ 605624 w 2033905"/>
                  <a:gd name="T89" fmla="*/ 2425700 h 2806700"/>
                  <a:gd name="T90" fmla="*/ 548132 w 2033905"/>
                  <a:gd name="T91" fmla="*/ 2324100 h 2806700"/>
                  <a:gd name="T92" fmla="*/ 584923 w 2033905"/>
                  <a:gd name="T93" fmla="*/ 2133600 h 2806700"/>
                  <a:gd name="T94" fmla="*/ 367487 w 2033905"/>
                  <a:gd name="T95" fmla="*/ 2019300 h 2806700"/>
                  <a:gd name="T96" fmla="*/ 257606 w 2033905"/>
                  <a:gd name="T97" fmla="*/ 2209800 h 2806700"/>
                  <a:gd name="T98" fmla="*/ 100368 w 2033905"/>
                  <a:gd name="T99" fmla="*/ 2476500 h 2806700"/>
                  <a:gd name="T100" fmla="*/ 0 w 2033905"/>
                  <a:gd name="T101" fmla="*/ 2679700 h 2806700"/>
                  <a:gd name="T102" fmla="*/ 217805 w 2033905"/>
                  <a:gd name="T103" fmla="*/ 2794000 h 2806700"/>
                  <a:gd name="T104" fmla="*/ 351167 w 2033905"/>
                  <a:gd name="T105" fmla="*/ 2679700 h 2806700"/>
                  <a:gd name="T106" fmla="*/ 518896 w 2033905"/>
                  <a:gd name="T107" fmla="*/ 2730500 h 2806700"/>
                  <a:gd name="T108" fmla="*/ 1866519 w 2033905"/>
                  <a:gd name="T109" fmla="*/ 2794000 h 2806700"/>
                  <a:gd name="T110" fmla="*/ 1955787 w 2033905"/>
                  <a:gd name="T111" fmla="*/ 2667000 h 2806700"/>
                  <a:gd name="T112" fmla="*/ 1839709 w 2033905"/>
                  <a:gd name="T113" fmla="*/ 2514600 h 2806700"/>
                  <a:gd name="T114" fmla="*/ 1193139 w 2033905"/>
                  <a:gd name="T115" fmla="*/ 2362200 h 2806700"/>
                  <a:gd name="T116" fmla="*/ 1252270 w 2033905"/>
                  <a:gd name="T117" fmla="*/ 1930400 h 2806700"/>
                  <a:gd name="T118" fmla="*/ 1586318 w 2033905"/>
                  <a:gd name="T119" fmla="*/ 1879600 h 2806700"/>
                  <a:gd name="T120" fmla="*/ 1739912 w 2033905"/>
                  <a:gd name="T121" fmla="*/ 1663700 h 2806700"/>
                  <a:gd name="T122" fmla="*/ 1783549 w 2033905"/>
                  <a:gd name="T123" fmla="*/ 1524000 h 2806700"/>
                  <a:gd name="T124" fmla="*/ 1965147 w 2033905"/>
                  <a:gd name="T125" fmla="*/ 1460500 h 2806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3905" h="2806700">
                    <a:moveTo>
                      <a:pt x="1609966" y="2058797"/>
                    </a:moveTo>
                    <a:lnTo>
                      <a:pt x="1605572" y="2058797"/>
                    </a:lnTo>
                    <a:lnTo>
                      <a:pt x="1606638" y="2058936"/>
                    </a:lnTo>
                    <a:lnTo>
                      <a:pt x="1607756" y="2058962"/>
                    </a:lnTo>
                    <a:lnTo>
                      <a:pt x="1608899" y="2058936"/>
                    </a:lnTo>
                    <a:lnTo>
                      <a:pt x="1609966" y="2058797"/>
                    </a:lnTo>
                    <a:close/>
                  </a:path>
                  <a:path w="2033905" h="2806700">
                    <a:moveTo>
                      <a:pt x="1609991" y="2362441"/>
                    </a:moveTo>
                    <a:lnTo>
                      <a:pt x="1608937" y="2362301"/>
                    </a:lnTo>
                    <a:lnTo>
                      <a:pt x="1607807" y="2362289"/>
                    </a:lnTo>
                    <a:lnTo>
                      <a:pt x="1606677" y="2362301"/>
                    </a:lnTo>
                    <a:lnTo>
                      <a:pt x="1605597" y="2362441"/>
                    </a:lnTo>
                    <a:lnTo>
                      <a:pt x="1609991" y="2362441"/>
                    </a:lnTo>
                    <a:close/>
                  </a:path>
                  <a:path w="2033905" h="2806700">
                    <a:moveTo>
                      <a:pt x="1757438" y="2208123"/>
                    </a:moveTo>
                    <a:lnTo>
                      <a:pt x="1746211" y="2151672"/>
                    </a:lnTo>
                    <a:lnTo>
                      <a:pt x="1712544" y="2103526"/>
                    </a:lnTo>
                    <a:lnTo>
                      <a:pt x="1664474" y="2071039"/>
                    </a:lnTo>
                    <a:lnTo>
                      <a:pt x="1607756" y="2058962"/>
                    </a:lnTo>
                    <a:lnTo>
                      <a:pt x="1578444" y="2062302"/>
                    </a:lnTo>
                    <a:lnTo>
                      <a:pt x="1526895" y="2084666"/>
                    </a:lnTo>
                    <a:lnTo>
                      <a:pt x="1485773" y="2126069"/>
                    </a:lnTo>
                    <a:lnTo>
                      <a:pt x="1464157" y="2178037"/>
                    </a:lnTo>
                    <a:lnTo>
                      <a:pt x="1461465" y="2207031"/>
                    </a:lnTo>
                    <a:lnTo>
                      <a:pt x="1464157" y="2239048"/>
                    </a:lnTo>
                    <a:lnTo>
                      <a:pt x="1485773" y="2294763"/>
                    </a:lnTo>
                    <a:lnTo>
                      <a:pt x="1526908" y="2336647"/>
                    </a:lnTo>
                    <a:lnTo>
                      <a:pt x="1578483" y="2358974"/>
                    </a:lnTo>
                    <a:lnTo>
                      <a:pt x="1607807" y="2362289"/>
                    </a:lnTo>
                    <a:lnTo>
                      <a:pt x="1637220" y="2359025"/>
                    </a:lnTo>
                    <a:lnTo>
                      <a:pt x="1689608" y="2336901"/>
                    </a:lnTo>
                    <a:lnTo>
                      <a:pt x="1732178" y="2295194"/>
                    </a:lnTo>
                    <a:lnTo>
                      <a:pt x="1754632" y="2240013"/>
                    </a:lnTo>
                    <a:lnTo>
                      <a:pt x="1757438" y="2208123"/>
                    </a:lnTo>
                    <a:close/>
                  </a:path>
                  <a:path w="2033905" h="2806700">
                    <a:moveTo>
                      <a:pt x="2033638" y="1333500"/>
                    </a:moveTo>
                    <a:lnTo>
                      <a:pt x="2022411" y="1282700"/>
                    </a:lnTo>
                    <a:lnTo>
                      <a:pt x="1988743" y="1231900"/>
                    </a:lnTo>
                    <a:lnTo>
                      <a:pt x="1939251" y="1193800"/>
                    </a:lnTo>
                    <a:lnTo>
                      <a:pt x="1911083" y="1193800"/>
                    </a:lnTo>
                    <a:lnTo>
                      <a:pt x="1880641" y="1181100"/>
                    </a:lnTo>
                    <a:lnTo>
                      <a:pt x="1826272" y="1181100"/>
                    </a:lnTo>
                    <a:lnTo>
                      <a:pt x="1803488" y="1168400"/>
                    </a:lnTo>
                    <a:lnTo>
                      <a:pt x="1783549" y="1143000"/>
                    </a:lnTo>
                    <a:lnTo>
                      <a:pt x="1766900" y="1130300"/>
                    </a:lnTo>
                    <a:lnTo>
                      <a:pt x="1754098" y="1104900"/>
                    </a:lnTo>
                    <a:lnTo>
                      <a:pt x="1745869" y="1079500"/>
                    </a:lnTo>
                    <a:lnTo>
                      <a:pt x="1742960" y="1054100"/>
                    </a:lnTo>
                    <a:lnTo>
                      <a:pt x="1742960" y="1041400"/>
                    </a:lnTo>
                    <a:lnTo>
                      <a:pt x="1739912" y="990600"/>
                    </a:lnTo>
                    <a:lnTo>
                      <a:pt x="1730527" y="952500"/>
                    </a:lnTo>
                    <a:lnTo>
                      <a:pt x="1714411" y="901700"/>
                    </a:lnTo>
                    <a:lnTo>
                      <a:pt x="1691195" y="863600"/>
                    </a:lnTo>
                    <a:lnTo>
                      <a:pt x="1660486" y="825500"/>
                    </a:lnTo>
                    <a:lnTo>
                      <a:pt x="1624698" y="800100"/>
                    </a:lnTo>
                    <a:lnTo>
                      <a:pt x="1586318" y="774700"/>
                    </a:lnTo>
                    <a:lnTo>
                      <a:pt x="1544942" y="749300"/>
                    </a:lnTo>
                    <a:lnTo>
                      <a:pt x="1500174" y="736600"/>
                    </a:lnTo>
                    <a:lnTo>
                      <a:pt x="1439456" y="736600"/>
                    </a:lnTo>
                    <a:lnTo>
                      <a:pt x="1439456" y="1524000"/>
                    </a:lnTo>
                    <a:lnTo>
                      <a:pt x="1439456" y="1587500"/>
                    </a:lnTo>
                    <a:lnTo>
                      <a:pt x="1439062" y="1587500"/>
                    </a:lnTo>
                    <a:lnTo>
                      <a:pt x="1437030" y="1600200"/>
                    </a:lnTo>
                    <a:lnTo>
                      <a:pt x="1432191" y="1612900"/>
                    </a:lnTo>
                    <a:lnTo>
                      <a:pt x="1426070" y="1612900"/>
                    </a:lnTo>
                    <a:lnTo>
                      <a:pt x="1420291" y="1625600"/>
                    </a:lnTo>
                    <a:lnTo>
                      <a:pt x="1218653" y="1625600"/>
                    </a:lnTo>
                    <a:lnTo>
                      <a:pt x="1211541" y="1612900"/>
                    </a:lnTo>
                    <a:lnTo>
                      <a:pt x="1204328" y="1612900"/>
                    </a:lnTo>
                    <a:lnTo>
                      <a:pt x="1198372" y="1600200"/>
                    </a:lnTo>
                    <a:lnTo>
                      <a:pt x="1194993" y="1587500"/>
                    </a:lnTo>
                    <a:lnTo>
                      <a:pt x="1193482" y="1587500"/>
                    </a:lnTo>
                    <a:lnTo>
                      <a:pt x="1193139" y="1574800"/>
                    </a:lnTo>
                    <a:lnTo>
                      <a:pt x="1193139" y="1524000"/>
                    </a:lnTo>
                    <a:lnTo>
                      <a:pt x="1193482" y="1524000"/>
                    </a:lnTo>
                    <a:lnTo>
                      <a:pt x="1194993" y="1511300"/>
                    </a:lnTo>
                    <a:lnTo>
                      <a:pt x="1198372" y="1511300"/>
                    </a:lnTo>
                    <a:lnTo>
                      <a:pt x="1204328" y="1498600"/>
                    </a:lnTo>
                    <a:lnTo>
                      <a:pt x="1211541" y="1498600"/>
                    </a:lnTo>
                    <a:lnTo>
                      <a:pt x="1218653" y="1485900"/>
                    </a:lnTo>
                    <a:lnTo>
                      <a:pt x="1420291" y="1485900"/>
                    </a:lnTo>
                    <a:lnTo>
                      <a:pt x="1426070" y="1498600"/>
                    </a:lnTo>
                    <a:lnTo>
                      <a:pt x="1432191" y="1498600"/>
                    </a:lnTo>
                    <a:lnTo>
                      <a:pt x="1437030" y="1511300"/>
                    </a:lnTo>
                    <a:lnTo>
                      <a:pt x="1439062" y="1511300"/>
                    </a:lnTo>
                    <a:lnTo>
                      <a:pt x="1439456" y="1524000"/>
                    </a:lnTo>
                    <a:lnTo>
                      <a:pt x="1439456" y="736600"/>
                    </a:lnTo>
                    <a:lnTo>
                      <a:pt x="1439329" y="736600"/>
                    </a:lnTo>
                    <a:lnTo>
                      <a:pt x="1439329" y="1092200"/>
                    </a:lnTo>
                    <a:lnTo>
                      <a:pt x="1439329" y="1130300"/>
                    </a:lnTo>
                    <a:lnTo>
                      <a:pt x="1438338" y="1155700"/>
                    </a:lnTo>
                    <a:lnTo>
                      <a:pt x="1433842" y="1168400"/>
                    </a:lnTo>
                    <a:lnTo>
                      <a:pt x="1423530" y="1181100"/>
                    </a:lnTo>
                    <a:lnTo>
                      <a:pt x="1211541" y="1181100"/>
                    </a:lnTo>
                    <a:lnTo>
                      <a:pt x="1204328" y="1168400"/>
                    </a:lnTo>
                    <a:lnTo>
                      <a:pt x="1198372" y="1155700"/>
                    </a:lnTo>
                    <a:lnTo>
                      <a:pt x="1194993" y="1155700"/>
                    </a:lnTo>
                    <a:lnTo>
                      <a:pt x="1193482" y="1143000"/>
                    </a:lnTo>
                    <a:lnTo>
                      <a:pt x="1193139" y="1130300"/>
                    </a:lnTo>
                    <a:lnTo>
                      <a:pt x="1193139" y="1092200"/>
                    </a:lnTo>
                    <a:lnTo>
                      <a:pt x="1193482" y="1079500"/>
                    </a:lnTo>
                    <a:lnTo>
                      <a:pt x="1194993" y="1066800"/>
                    </a:lnTo>
                    <a:lnTo>
                      <a:pt x="1198372" y="1066800"/>
                    </a:lnTo>
                    <a:lnTo>
                      <a:pt x="1204328" y="1054100"/>
                    </a:lnTo>
                    <a:lnTo>
                      <a:pt x="1211541" y="1054100"/>
                    </a:lnTo>
                    <a:lnTo>
                      <a:pt x="1218653" y="1041400"/>
                    </a:lnTo>
                    <a:lnTo>
                      <a:pt x="1423530" y="1041400"/>
                    </a:lnTo>
                    <a:lnTo>
                      <a:pt x="1433842" y="1054100"/>
                    </a:lnTo>
                    <a:lnTo>
                      <a:pt x="1438338" y="1066800"/>
                    </a:lnTo>
                    <a:lnTo>
                      <a:pt x="1439329" y="1092200"/>
                    </a:lnTo>
                    <a:lnTo>
                      <a:pt x="1439329" y="736600"/>
                    </a:lnTo>
                    <a:lnTo>
                      <a:pt x="1236510" y="736600"/>
                    </a:lnTo>
                    <a:lnTo>
                      <a:pt x="1224305" y="723900"/>
                    </a:lnTo>
                    <a:lnTo>
                      <a:pt x="1212646" y="711200"/>
                    </a:lnTo>
                    <a:lnTo>
                      <a:pt x="1203045" y="698500"/>
                    </a:lnTo>
                    <a:lnTo>
                      <a:pt x="1197063" y="698500"/>
                    </a:lnTo>
                    <a:lnTo>
                      <a:pt x="1194003" y="685800"/>
                    </a:lnTo>
                    <a:lnTo>
                      <a:pt x="1193139" y="660400"/>
                    </a:lnTo>
                    <a:lnTo>
                      <a:pt x="1193139" y="647700"/>
                    </a:lnTo>
                    <a:lnTo>
                      <a:pt x="1203045" y="609600"/>
                    </a:lnTo>
                    <a:lnTo>
                      <a:pt x="1224305" y="584200"/>
                    </a:lnTo>
                    <a:lnTo>
                      <a:pt x="1764258" y="584200"/>
                    </a:lnTo>
                    <a:lnTo>
                      <a:pt x="1794687" y="571500"/>
                    </a:lnTo>
                    <a:lnTo>
                      <a:pt x="1822856" y="571500"/>
                    </a:lnTo>
                    <a:lnTo>
                      <a:pt x="1848751" y="546100"/>
                    </a:lnTo>
                    <a:lnTo>
                      <a:pt x="1872335" y="533400"/>
                    </a:lnTo>
                    <a:lnTo>
                      <a:pt x="1891982" y="508000"/>
                    </a:lnTo>
                    <a:lnTo>
                      <a:pt x="1906016" y="482600"/>
                    </a:lnTo>
                    <a:lnTo>
                      <a:pt x="1914436" y="457200"/>
                    </a:lnTo>
                    <a:lnTo>
                      <a:pt x="1917242" y="431800"/>
                    </a:lnTo>
                    <a:lnTo>
                      <a:pt x="1914436" y="393700"/>
                    </a:lnTo>
                    <a:lnTo>
                      <a:pt x="1891982" y="342900"/>
                    </a:lnTo>
                    <a:lnTo>
                      <a:pt x="1848751" y="292100"/>
                    </a:lnTo>
                    <a:lnTo>
                      <a:pt x="1794687" y="266700"/>
                    </a:lnTo>
                    <a:lnTo>
                      <a:pt x="1276794" y="266700"/>
                    </a:lnTo>
                    <a:lnTo>
                      <a:pt x="1257287" y="254000"/>
                    </a:lnTo>
                    <a:lnTo>
                      <a:pt x="1239469" y="254000"/>
                    </a:lnTo>
                    <a:lnTo>
                      <a:pt x="1222616" y="241300"/>
                    </a:lnTo>
                    <a:lnTo>
                      <a:pt x="1208659" y="215900"/>
                    </a:lnTo>
                    <a:lnTo>
                      <a:pt x="1199553" y="203200"/>
                    </a:lnTo>
                    <a:lnTo>
                      <a:pt x="1194625" y="177800"/>
                    </a:lnTo>
                    <a:lnTo>
                      <a:pt x="1193139" y="165100"/>
                    </a:lnTo>
                    <a:lnTo>
                      <a:pt x="1193139" y="152400"/>
                    </a:lnTo>
                    <a:lnTo>
                      <a:pt x="1189837" y="127000"/>
                    </a:lnTo>
                    <a:lnTo>
                      <a:pt x="1180426" y="88900"/>
                    </a:lnTo>
                    <a:lnTo>
                      <a:pt x="1146136" y="38100"/>
                    </a:lnTo>
                    <a:lnTo>
                      <a:pt x="1096949" y="12700"/>
                    </a:lnTo>
                    <a:lnTo>
                      <a:pt x="1068451" y="0"/>
                    </a:lnTo>
                    <a:lnTo>
                      <a:pt x="1008849" y="0"/>
                    </a:lnTo>
                    <a:lnTo>
                      <a:pt x="961732" y="25400"/>
                    </a:lnTo>
                    <a:lnTo>
                      <a:pt x="922743" y="63500"/>
                    </a:lnTo>
                    <a:lnTo>
                      <a:pt x="907237" y="127000"/>
                    </a:lnTo>
                    <a:lnTo>
                      <a:pt x="905916" y="152400"/>
                    </a:lnTo>
                    <a:lnTo>
                      <a:pt x="905916" y="165100"/>
                    </a:lnTo>
                    <a:lnTo>
                      <a:pt x="902411" y="177800"/>
                    </a:lnTo>
                    <a:lnTo>
                      <a:pt x="893102" y="203200"/>
                    </a:lnTo>
                    <a:lnTo>
                      <a:pt x="879856" y="215900"/>
                    </a:lnTo>
                    <a:lnTo>
                      <a:pt x="864501" y="241300"/>
                    </a:lnTo>
                    <a:lnTo>
                      <a:pt x="846226" y="254000"/>
                    </a:lnTo>
                    <a:lnTo>
                      <a:pt x="824255" y="254000"/>
                    </a:lnTo>
                    <a:lnTo>
                      <a:pt x="800404" y="266700"/>
                    </a:lnTo>
                    <a:lnTo>
                      <a:pt x="287350" y="266700"/>
                    </a:lnTo>
                    <a:lnTo>
                      <a:pt x="259816" y="279400"/>
                    </a:lnTo>
                    <a:lnTo>
                      <a:pt x="234975" y="292100"/>
                    </a:lnTo>
                    <a:lnTo>
                      <a:pt x="212852" y="317500"/>
                    </a:lnTo>
                    <a:lnTo>
                      <a:pt x="194640" y="330200"/>
                    </a:lnTo>
                    <a:lnTo>
                      <a:pt x="181660" y="368300"/>
                    </a:lnTo>
                    <a:lnTo>
                      <a:pt x="173875" y="393700"/>
                    </a:lnTo>
                    <a:lnTo>
                      <a:pt x="171284" y="419100"/>
                    </a:lnTo>
                    <a:lnTo>
                      <a:pt x="173875" y="457200"/>
                    </a:lnTo>
                    <a:lnTo>
                      <a:pt x="181660" y="482600"/>
                    </a:lnTo>
                    <a:lnTo>
                      <a:pt x="194640" y="508000"/>
                    </a:lnTo>
                    <a:lnTo>
                      <a:pt x="212852" y="533400"/>
                    </a:lnTo>
                    <a:lnTo>
                      <a:pt x="234975" y="546100"/>
                    </a:lnTo>
                    <a:lnTo>
                      <a:pt x="259816" y="571500"/>
                    </a:lnTo>
                    <a:lnTo>
                      <a:pt x="287350" y="571500"/>
                    </a:lnTo>
                    <a:lnTo>
                      <a:pt x="317601" y="584200"/>
                    </a:lnTo>
                    <a:lnTo>
                      <a:pt x="861187" y="584200"/>
                    </a:lnTo>
                    <a:lnTo>
                      <a:pt x="895604" y="622300"/>
                    </a:lnTo>
                    <a:lnTo>
                      <a:pt x="905916" y="647700"/>
                    </a:lnTo>
                    <a:lnTo>
                      <a:pt x="905916" y="660400"/>
                    </a:lnTo>
                    <a:lnTo>
                      <a:pt x="903033" y="685800"/>
                    </a:lnTo>
                    <a:lnTo>
                      <a:pt x="895604" y="698500"/>
                    </a:lnTo>
                    <a:lnTo>
                      <a:pt x="885469" y="698500"/>
                    </a:lnTo>
                    <a:lnTo>
                      <a:pt x="874483" y="711200"/>
                    </a:lnTo>
                    <a:lnTo>
                      <a:pt x="861187" y="723900"/>
                    </a:lnTo>
                    <a:lnTo>
                      <a:pt x="844194" y="736600"/>
                    </a:lnTo>
                    <a:lnTo>
                      <a:pt x="480136" y="736600"/>
                    </a:lnTo>
                    <a:lnTo>
                      <a:pt x="452272" y="749300"/>
                    </a:lnTo>
                    <a:lnTo>
                      <a:pt x="426910" y="762000"/>
                    </a:lnTo>
                    <a:lnTo>
                      <a:pt x="404063" y="787400"/>
                    </a:lnTo>
                    <a:lnTo>
                      <a:pt x="385140" y="800100"/>
                    </a:lnTo>
                    <a:lnTo>
                      <a:pt x="371640" y="825500"/>
                    </a:lnTo>
                    <a:lnTo>
                      <a:pt x="363537" y="863600"/>
                    </a:lnTo>
                    <a:lnTo>
                      <a:pt x="360832" y="889000"/>
                    </a:lnTo>
                    <a:lnTo>
                      <a:pt x="363537" y="914400"/>
                    </a:lnTo>
                    <a:lnTo>
                      <a:pt x="371640" y="952500"/>
                    </a:lnTo>
                    <a:lnTo>
                      <a:pt x="385140" y="977900"/>
                    </a:lnTo>
                    <a:lnTo>
                      <a:pt x="404063" y="990600"/>
                    </a:lnTo>
                    <a:lnTo>
                      <a:pt x="426910" y="1016000"/>
                    </a:lnTo>
                    <a:lnTo>
                      <a:pt x="452272" y="1028700"/>
                    </a:lnTo>
                    <a:lnTo>
                      <a:pt x="480136" y="1041400"/>
                    </a:lnTo>
                    <a:lnTo>
                      <a:pt x="863155" y="1041400"/>
                    </a:lnTo>
                    <a:lnTo>
                      <a:pt x="884453" y="1054100"/>
                    </a:lnTo>
                    <a:lnTo>
                      <a:pt x="899934" y="1066800"/>
                    </a:lnTo>
                    <a:lnTo>
                      <a:pt x="905916" y="1092200"/>
                    </a:lnTo>
                    <a:lnTo>
                      <a:pt x="905916" y="1130300"/>
                    </a:lnTo>
                    <a:lnTo>
                      <a:pt x="899934" y="1155700"/>
                    </a:lnTo>
                    <a:lnTo>
                      <a:pt x="884453" y="1168400"/>
                    </a:lnTo>
                    <a:lnTo>
                      <a:pt x="863155" y="1181100"/>
                    </a:lnTo>
                    <a:lnTo>
                      <a:pt x="344208" y="1181100"/>
                    </a:lnTo>
                    <a:lnTo>
                      <a:pt x="313753" y="1193800"/>
                    </a:lnTo>
                    <a:lnTo>
                      <a:pt x="285584" y="1193800"/>
                    </a:lnTo>
                    <a:lnTo>
                      <a:pt x="259715" y="1206500"/>
                    </a:lnTo>
                    <a:lnTo>
                      <a:pt x="236131" y="1231900"/>
                    </a:lnTo>
                    <a:lnTo>
                      <a:pt x="216484" y="1244600"/>
                    </a:lnTo>
                    <a:lnTo>
                      <a:pt x="202450" y="1270000"/>
                    </a:lnTo>
                    <a:lnTo>
                      <a:pt x="194030" y="1308100"/>
                    </a:lnTo>
                    <a:lnTo>
                      <a:pt x="191223" y="1333500"/>
                    </a:lnTo>
                    <a:lnTo>
                      <a:pt x="194030" y="1358900"/>
                    </a:lnTo>
                    <a:lnTo>
                      <a:pt x="202450" y="1397000"/>
                    </a:lnTo>
                    <a:lnTo>
                      <a:pt x="236131" y="1447800"/>
                    </a:lnTo>
                    <a:lnTo>
                      <a:pt x="285584" y="1473200"/>
                    </a:lnTo>
                    <a:lnTo>
                      <a:pt x="313753" y="1485900"/>
                    </a:lnTo>
                    <a:lnTo>
                      <a:pt x="862914" y="1485900"/>
                    </a:lnTo>
                    <a:lnTo>
                      <a:pt x="874191" y="1498600"/>
                    </a:lnTo>
                    <a:lnTo>
                      <a:pt x="882802" y="1498600"/>
                    </a:lnTo>
                    <a:lnTo>
                      <a:pt x="890130" y="1511300"/>
                    </a:lnTo>
                    <a:lnTo>
                      <a:pt x="897674" y="1511300"/>
                    </a:lnTo>
                    <a:lnTo>
                      <a:pt x="903554" y="1524000"/>
                    </a:lnTo>
                    <a:lnTo>
                      <a:pt x="905916" y="1524000"/>
                    </a:lnTo>
                    <a:lnTo>
                      <a:pt x="905916" y="1574800"/>
                    </a:lnTo>
                    <a:lnTo>
                      <a:pt x="903554" y="1587500"/>
                    </a:lnTo>
                    <a:lnTo>
                      <a:pt x="897674" y="1587500"/>
                    </a:lnTo>
                    <a:lnTo>
                      <a:pt x="890130" y="1600200"/>
                    </a:lnTo>
                    <a:lnTo>
                      <a:pt x="882802" y="1612900"/>
                    </a:lnTo>
                    <a:lnTo>
                      <a:pt x="874191" y="1612900"/>
                    </a:lnTo>
                    <a:lnTo>
                      <a:pt x="862914" y="1625600"/>
                    </a:lnTo>
                    <a:lnTo>
                      <a:pt x="480136" y="1625600"/>
                    </a:lnTo>
                    <a:lnTo>
                      <a:pt x="452272" y="1638300"/>
                    </a:lnTo>
                    <a:lnTo>
                      <a:pt x="404063" y="1663700"/>
                    </a:lnTo>
                    <a:lnTo>
                      <a:pt x="371640" y="1714500"/>
                    </a:lnTo>
                    <a:lnTo>
                      <a:pt x="360832" y="1765300"/>
                    </a:lnTo>
                    <a:lnTo>
                      <a:pt x="363537" y="1790700"/>
                    </a:lnTo>
                    <a:lnTo>
                      <a:pt x="385140" y="1841500"/>
                    </a:lnTo>
                    <a:lnTo>
                      <a:pt x="426910" y="1879600"/>
                    </a:lnTo>
                    <a:lnTo>
                      <a:pt x="452272" y="1892300"/>
                    </a:lnTo>
                    <a:lnTo>
                      <a:pt x="480136" y="1892300"/>
                    </a:lnTo>
                    <a:lnTo>
                      <a:pt x="510489" y="1905000"/>
                    </a:lnTo>
                    <a:lnTo>
                      <a:pt x="773595" y="1905000"/>
                    </a:lnTo>
                    <a:lnTo>
                      <a:pt x="803465" y="1917700"/>
                    </a:lnTo>
                    <a:lnTo>
                      <a:pt x="831049" y="1930400"/>
                    </a:lnTo>
                    <a:lnTo>
                      <a:pt x="854532" y="1955800"/>
                    </a:lnTo>
                    <a:lnTo>
                      <a:pt x="874242" y="1968500"/>
                    </a:lnTo>
                    <a:lnTo>
                      <a:pt x="890612" y="2006600"/>
                    </a:lnTo>
                    <a:lnTo>
                      <a:pt x="901788" y="2032000"/>
                    </a:lnTo>
                    <a:lnTo>
                      <a:pt x="905916" y="2057400"/>
                    </a:lnTo>
                    <a:lnTo>
                      <a:pt x="905916" y="2349500"/>
                    </a:lnTo>
                    <a:lnTo>
                      <a:pt x="900430" y="2387600"/>
                    </a:lnTo>
                    <a:lnTo>
                      <a:pt x="885202" y="2425700"/>
                    </a:lnTo>
                    <a:lnTo>
                      <a:pt x="862076" y="2451100"/>
                    </a:lnTo>
                    <a:lnTo>
                      <a:pt x="832916" y="2463800"/>
                    </a:lnTo>
                    <a:lnTo>
                      <a:pt x="797433" y="2489200"/>
                    </a:lnTo>
                    <a:lnTo>
                      <a:pt x="725881" y="2489200"/>
                    </a:lnTo>
                    <a:lnTo>
                      <a:pt x="691654" y="2476500"/>
                    </a:lnTo>
                    <a:lnTo>
                      <a:pt x="673684" y="2476500"/>
                    </a:lnTo>
                    <a:lnTo>
                      <a:pt x="654888" y="2463800"/>
                    </a:lnTo>
                    <a:lnTo>
                      <a:pt x="648131" y="2463800"/>
                    </a:lnTo>
                    <a:lnTo>
                      <a:pt x="641413" y="2451100"/>
                    </a:lnTo>
                    <a:lnTo>
                      <a:pt x="625944" y="2451100"/>
                    </a:lnTo>
                    <a:lnTo>
                      <a:pt x="620864" y="2438400"/>
                    </a:lnTo>
                    <a:lnTo>
                      <a:pt x="610730" y="2438400"/>
                    </a:lnTo>
                    <a:lnTo>
                      <a:pt x="605624" y="2425700"/>
                    </a:lnTo>
                    <a:lnTo>
                      <a:pt x="600583" y="2425700"/>
                    </a:lnTo>
                    <a:lnTo>
                      <a:pt x="583819" y="2400300"/>
                    </a:lnTo>
                    <a:lnTo>
                      <a:pt x="570141" y="2387600"/>
                    </a:lnTo>
                    <a:lnTo>
                      <a:pt x="559600" y="2362200"/>
                    </a:lnTo>
                    <a:lnTo>
                      <a:pt x="552208" y="2349500"/>
                    </a:lnTo>
                    <a:lnTo>
                      <a:pt x="548132" y="2324100"/>
                    </a:lnTo>
                    <a:lnTo>
                      <a:pt x="547585" y="2298700"/>
                    </a:lnTo>
                    <a:lnTo>
                      <a:pt x="550583" y="2273300"/>
                    </a:lnTo>
                    <a:lnTo>
                      <a:pt x="557136" y="2247900"/>
                    </a:lnTo>
                    <a:lnTo>
                      <a:pt x="577037" y="2197100"/>
                    </a:lnTo>
                    <a:lnTo>
                      <a:pt x="583996" y="2171700"/>
                    </a:lnTo>
                    <a:lnTo>
                      <a:pt x="584923" y="2133600"/>
                    </a:lnTo>
                    <a:lnTo>
                      <a:pt x="568718" y="2082800"/>
                    </a:lnTo>
                    <a:lnTo>
                      <a:pt x="533361" y="2032000"/>
                    </a:lnTo>
                    <a:lnTo>
                      <a:pt x="483895" y="2006600"/>
                    </a:lnTo>
                    <a:lnTo>
                      <a:pt x="454164" y="2006600"/>
                    </a:lnTo>
                    <a:lnTo>
                      <a:pt x="424853" y="1993900"/>
                    </a:lnTo>
                    <a:lnTo>
                      <a:pt x="367487" y="2019300"/>
                    </a:lnTo>
                    <a:lnTo>
                      <a:pt x="341693" y="2032000"/>
                    </a:lnTo>
                    <a:lnTo>
                      <a:pt x="320903" y="2057400"/>
                    </a:lnTo>
                    <a:lnTo>
                      <a:pt x="305117" y="2070100"/>
                    </a:lnTo>
                    <a:lnTo>
                      <a:pt x="294322" y="2108200"/>
                    </a:lnTo>
                    <a:lnTo>
                      <a:pt x="277164" y="2159000"/>
                    </a:lnTo>
                    <a:lnTo>
                      <a:pt x="257606" y="2209800"/>
                    </a:lnTo>
                    <a:lnTo>
                      <a:pt x="235661" y="2247900"/>
                    </a:lnTo>
                    <a:lnTo>
                      <a:pt x="211315" y="2298700"/>
                    </a:lnTo>
                    <a:lnTo>
                      <a:pt x="184581" y="2349500"/>
                    </a:lnTo>
                    <a:lnTo>
                      <a:pt x="158369" y="2387600"/>
                    </a:lnTo>
                    <a:lnTo>
                      <a:pt x="130289" y="2438400"/>
                    </a:lnTo>
                    <a:lnTo>
                      <a:pt x="100368" y="2476500"/>
                    </a:lnTo>
                    <a:lnTo>
                      <a:pt x="68567" y="2527300"/>
                    </a:lnTo>
                    <a:lnTo>
                      <a:pt x="34925" y="2565400"/>
                    </a:lnTo>
                    <a:lnTo>
                      <a:pt x="17767" y="2590800"/>
                    </a:lnTo>
                    <a:lnTo>
                      <a:pt x="6235" y="2616200"/>
                    </a:lnTo>
                    <a:lnTo>
                      <a:pt x="317" y="2654300"/>
                    </a:lnTo>
                    <a:lnTo>
                      <a:pt x="0" y="2679700"/>
                    </a:lnTo>
                    <a:lnTo>
                      <a:pt x="5092" y="2705100"/>
                    </a:lnTo>
                    <a:lnTo>
                      <a:pt x="30861" y="2755900"/>
                    </a:lnTo>
                    <a:lnTo>
                      <a:pt x="75869" y="2794000"/>
                    </a:lnTo>
                    <a:lnTo>
                      <a:pt x="102260" y="2806700"/>
                    </a:lnTo>
                    <a:lnTo>
                      <a:pt x="191211" y="2806700"/>
                    </a:lnTo>
                    <a:lnTo>
                      <a:pt x="217805" y="2794000"/>
                    </a:lnTo>
                    <a:lnTo>
                      <a:pt x="241096" y="2781300"/>
                    </a:lnTo>
                    <a:lnTo>
                      <a:pt x="261086" y="2755900"/>
                    </a:lnTo>
                    <a:lnTo>
                      <a:pt x="300977" y="2717800"/>
                    </a:lnTo>
                    <a:lnTo>
                      <a:pt x="315417" y="2692400"/>
                    </a:lnTo>
                    <a:lnTo>
                      <a:pt x="332143" y="2679700"/>
                    </a:lnTo>
                    <a:lnTo>
                      <a:pt x="351167" y="2679700"/>
                    </a:lnTo>
                    <a:lnTo>
                      <a:pt x="372465" y="2667000"/>
                    </a:lnTo>
                    <a:lnTo>
                      <a:pt x="415277" y="2667000"/>
                    </a:lnTo>
                    <a:lnTo>
                      <a:pt x="435140" y="2679700"/>
                    </a:lnTo>
                    <a:lnTo>
                      <a:pt x="453961" y="2692400"/>
                    </a:lnTo>
                    <a:lnTo>
                      <a:pt x="477240" y="2705100"/>
                    </a:lnTo>
                    <a:lnTo>
                      <a:pt x="518896" y="2730500"/>
                    </a:lnTo>
                    <a:lnTo>
                      <a:pt x="562190" y="2755900"/>
                    </a:lnTo>
                    <a:lnTo>
                      <a:pt x="653681" y="2781300"/>
                    </a:lnTo>
                    <a:lnTo>
                      <a:pt x="751700" y="2806700"/>
                    </a:lnTo>
                    <a:lnTo>
                      <a:pt x="1810829" y="2806700"/>
                    </a:lnTo>
                    <a:lnTo>
                      <a:pt x="1839709" y="2794000"/>
                    </a:lnTo>
                    <a:lnTo>
                      <a:pt x="1866519" y="2794000"/>
                    </a:lnTo>
                    <a:lnTo>
                      <a:pt x="1891245" y="2781300"/>
                    </a:lnTo>
                    <a:lnTo>
                      <a:pt x="1913915" y="2755900"/>
                    </a:lnTo>
                    <a:lnTo>
                      <a:pt x="1932813" y="2743200"/>
                    </a:lnTo>
                    <a:lnTo>
                      <a:pt x="1946325" y="2717800"/>
                    </a:lnTo>
                    <a:lnTo>
                      <a:pt x="1954428" y="2679700"/>
                    </a:lnTo>
                    <a:lnTo>
                      <a:pt x="1955787" y="2667000"/>
                    </a:lnTo>
                    <a:lnTo>
                      <a:pt x="1957133" y="2654300"/>
                    </a:lnTo>
                    <a:lnTo>
                      <a:pt x="1954428" y="2628900"/>
                    </a:lnTo>
                    <a:lnTo>
                      <a:pt x="1932813" y="2578100"/>
                    </a:lnTo>
                    <a:lnTo>
                      <a:pt x="1891245" y="2527300"/>
                    </a:lnTo>
                    <a:lnTo>
                      <a:pt x="1866519" y="2514600"/>
                    </a:lnTo>
                    <a:lnTo>
                      <a:pt x="1839709" y="2514600"/>
                    </a:lnTo>
                    <a:lnTo>
                      <a:pt x="1810829" y="2501900"/>
                    </a:lnTo>
                    <a:lnTo>
                      <a:pt x="1275181" y="2501900"/>
                    </a:lnTo>
                    <a:lnTo>
                      <a:pt x="1252270" y="2489200"/>
                    </a:lnTo>
                    <a:lnTo>
                      <a:pt x="1213319" y="2438400"/>
                    </a:lnTo>
                    <a:lnTo>
                      <a:pt x="1195146" y="2387600"/>
                    </a:lnTo>
                    <a:lnTo>
                      <a:pt x="1193139" y="2362200"/>
                    </a:lnTo>
                    <a:lnTo>
                      <a:pt x="1193139" y="2057400"/>
                    </a:lnTo>
                    <a:lnTo>
                      <a:pt x="1195146" y="2032000"/>
                    </a:lnTo>
                    <a:lnTo>
                      <a:pt x="1201635" y="2006600"/>
                    </a:lnTo>
                    <a:lnTo>
                      <a:pt x="1213319" y="1968500"/>
                    </a:lnTo>
                    <a:lnTo>
                      <a:pt x="1230934" y="1955800"/>
                    </a:lnTo>
                    <a:lnTo>
                      <a:pt x="1252270" y="1930400"/>
                    </a:lnTo>
                    <a:lnTo>
                      <a:pt x="1275181" y="1917700"/>
                    </a:lnTo>
                    <a:lnTo>
                      <a:pt x="1300391" y="1905000"/>
                    </a:lnTo>
                    <a:lnTo>
                      <a:pt x="1451648" y="1905000"/>
                    </a:lnTo>
                    <a:lnTo>
                      <a:pt x="1500174" y="1892300"/>
                    </a:lnTo>
                    <a:lnTo>
                      <a:pt x="1544942" y="1892300"/>
                    </a:lnTo>
                    <a:lnTo>
                      <a:pt x="1586318" y="1879600"/>
                    </a:lnTo>
                    <a:lnTo>
                      <a:pt x="1624698" y="1854200"/>
                    </a:lnTo>
                    <a:lnTo>
                      <a:pt x="1660486" y="1816100"/>
                    </a:lnTo>
                    <a:lnTo>
                      <a:pt x="1691195" y="1790700"/>
                    </a:lnTo>
                    <a:lnTo>
                      <a:pt x="1714411" y="1752600"/>
                    </a:lnTo>
                    <a:lnTo>
                      <a:pt x="1730527" y="1714500"/>
                    </a:lnTo>
                    <a:lnTo>
                      <a:pt x="1739912" y="1663700"/>
                    </a:lnTo>
                    <a:lnTo>
                      <a:pt x="1742960" y="1612900"/>
                    </a:lnTo>
                    <a:lnTo>
                      <a:pt x="1742960" y="1600200"/>
                    </a:lnTo>
                    <a:lnTo>
                      <a:pt x="1745869" y="1574800"/>
                    </a:lnTo>
                    <a:lnTo>
                      <a:pt x="1754098" y="1562100"/>
                    </a:lnTo>
                    <a:lnTo>
                      <a:pt x="1766900" y="1536700"/>
                    </a:lnTo>
                    <a:lnTo>
                      <a:pt x="1783549" y="1524000"/>
                    </a:lnTo>
                    <a:lnTo>
                      <a:pt x="1803488" y="1511300"/>
                    </a:lnTo>
                    <a:lnTo>
                      <a:pt x="1826272" y="1498600"/>
                    </a:lnTo>
                    <a:lnTo>
                      <a:pt x="1851126" y="1485900"/>
                    </a:lnTo>
                    <a:lnTo>
                      <a:pt x="1911083" y="1485900"/>
                    </a:lnTo>
                    <a:lnTo>
                      <a:pt x="1939251" y="1473200"/>
                    </a:lnTo>
                    <a:lnTo>
                      <a:pt x="1965147" y="1460500"/>
                    </a:lnTo>
                    <a:lnTo>
                      <a:pt x="1988743" y="1435100"/>
                    </a:lnTo>
                    <a:lnTo>
                      <a:pt x="2008390" y="1422400"/>
                    </a:lnTo>
                    <a:lnTo>
                      <a:pt x="2022411" y="1397000"/>
                    </a:lnTo>
                    <a:lnTo>
                      <a:pt x="2030831" y="1358900"/>
                    </a:lnTo>
                    <a:lnTo>
                      <a:pt x="2033638" y="133350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8" name="object 9"/>
              <p:cNvSpPr>
                <a:spLocks noChangeArrowheads="1"/>
              </p:cNvSpPr>
              <p:nvPr userDrawn="1"/>
            </p:nvSpPr>
            <p:spPr bwMode="auto">
              <a:xfrm>
                <a:off x="8697913" y="7029450"/>
                <a:ext cx="1306512" cy="912813"/>
              </a:xfrm>
              <a:custGeom>
                <a:avLst/>
                <a:gdLst>
                  <a:gd name="T0" fmla="*/ 353193 w 1306195"/>
                  <a:gd name="T1" fmla="*/ 0 h 913765"/>
                  <a:gd name="T2" fmla="*/ 249188 w 1306195"/>
                  <a:gd name="T3" fmla="*/ 15359 h 913765"/>
                  <a:gd name="T4" fmla="*/ 128468 w 1306195"/>
                  <a:gd name="T5" fmla="*/ 80137 h 913765"/>
                  <a:gd name="T6" fmla="*/ 42341 w 1306195"/>
                  <a:gd name="T7" fmla="*/ 184724 h 913765"/>
                  <a:gd name="T8" fmla="*/ 1708 w 1306195"/>
                  <a:gd name="T9" fmla="*/ 317007 h 913765"/>
                  <a:gd name="T10" fmla="*/ 2168 w 1306195"/>
                  <a:gd name="T11" fmla="*/ 820758 h 913765"/>
                  <a:gd name="T12" fmla="*/ 52892 w 1306195"/>
                  <a:gd name="T13" fmla="*/ 894767 h 913765"/>
                  <a:gd name="T14" fmla="*/ 116677 w 1306195"/>
                  <a:gd name="T15" fmla="*/ 913616 h 913765"/>
                  <a:gd name="T16" fmla="*/ 182767 w 1306195"/>
                  <a:gd name="T17" fmla="*/ 894767 h 913765"/>
                  <a:gd name="T18" fmla="*/ 233673 w 1306195"/>
                  <a:gd name="T19" fmla="*/ 820758 h 913765"/>
                  <a:gd name="T20" fmla="*/ 238871 w 1306195"/>
                  <a:gd name="T21" fmla="*/ 367350 h 913765"/>
                  <a:gd name="T22" fmla="*/ 309626 w 1306195"/>
                  <a:gd name="T23" fmla="*/ 263079 h 913765"/>
                  <a:gd name="T24" fmla="*/ 399705 w 1306195"/>
                  <a:gd name="T25" fmla="*/ 235846 h 913765"/>
                  <a:gd name="T26" fmla="*/ 1278495 w 1306195"/>
                  <a:gd name="T27" fmla="*/ 215982 h 913765"/>
                  <a:gd name="T28" fmla="*/ 1203890 w 1306195"/>
                  <a:gd name="T29" fmla="*/ 103023 h 913765"/>
                  <a:gd name="T30" fmla="*/ 1091935 w 1306195"/>
                  <a:gd name="T31" fmla="*/ 27297 h 913765"/>
                  <a:gd name="T32" fmla="*/ 990751 w 1306195"/>
                  <a:gd name="T33" fmla="*/ 1707 h 913765"/>
                  <a:gd name="T34" fmla="*/ 652943 w 1306195"/>
                  <a:gd name="T35" fmla="*/ 297917 h 913765"/>
                  <a:gd name="T36" fmla="*/ 568516 w 1306195"/>
                  <a:gd name="T37" fmla="*/ 332670 h 913765"/>
                  <a:gd name="T38" fmla="*/ 533774 w 1306195"/>
                  <a:gd name="T39" fmla="*/ 417086 h 913765"/>
                  <a:gd name="T40" fmla="*/ 542452 w 1306195"/>
                  <a:gd name="T41" fmla="*/ 842558 h 913765"/>
                  <a:gd name="T42" fmla="*/ 606988 w 1306195"/>
                  <a:gd name="T43" fmla="*/ 905240 h 913765"/>
                  <a:gd name="T44" fmla="*/ 676749 w 1306195"/>
                  <a:gd name="T45" fmla="*/ 911522 h 913765"/>
                  <a:gd name="T46" fmla="*/ 750773 w 1306195"/>
                  <a:gd name="T47" fmla="*/ 862335 h 913765"/>
                  <a:gd name="T48" fmla="*/ 769631 w 1306195"/>
                  <a:gd name="T49" fmla="*/ 796928 h 913765"/>
                  <a:gd name="T50" fmla="*/ 761247 w 1306195"/>
                  <a:gd name="T51" fmla="*/ 371168 h 913765"/>
                  <a:gd name="T52" fmla="*/ 698549 w 1306195"/>
                  <a:gd name="T53" fmla="*/ 306608 h 913765"/>
                  <a:gd name="T54" fmla="*/ 1285757 w 1306195"/>
                  <a:gd name="T55" fmla="*/ 235846 h 913765"/>
                  <a:gd name="T56" fmla="*/ 938524 w 1306195"/>
                  <a:gd name="T57" fmla="*/ 238871 h 913765"/>
                  <a:gd name="T58" fmla="*/ 1021612 w 1306195"/>
                  <a:gd name="T59" fmla="*/ 284263 h 913765"/>
                  <a:gd name="T60" fmla="*/ 1070019 w 1306195"/>
                  <a:gd name="T61" fmla="*/ 399705 h 913765"/>
                  <a:gd name="T62" fmla="*/ 1072137 w 1306195"/>
                  <a:gd name="T63" fmla="*/ 820758 h 913765"/>
                  <a:gd name="T64" fmla="*/ 1121842 w 1306195"/>
                  <a:gd name="T65" fmla="*/ 894767 h 913765"/>
                  <a:gd name="T66" fmla="*/ 1187963 w 1306195"/>
                  <a:gd name="T67" fmla="*/ 913616 h 913765"/>
                  <a:gd name="T68" fmla="*/ 1254061 w 1306195"/>
                  <a:gd name="T69" fmla="*/ 894767 h 913765"/>
                  <a:gd name="T70" fmla="*/ 1303768 w 1306195"/>
                  <a:gd name="T71" fmla="*/ 820758 h 913765"/>
                  <a:gd name="T72" fmla="*/ 1305812 w 1306195"/>
                  <a:gd name="T73" fmla="*/ 350992 h 913765"/>
                  <a:gd name="T74" fmla="*/ 1299031 w 1306195"/>
                  <a:gd name="T75" fmla="*/ 282408 h 913765"/>
                  <a:gd name="T76" fmla="*/ 1285757 w 1306195"/>
                  <a:gd name="T77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06195" h="913765">
                    <a:moveTo>
                      <a:pt x="955175" y="0"/>
                    </a:moveTo>
                    <a:lnTo>
                      <a:pt x="353193" y="0"/>
                    </a:lnTo>
                    <a:lnTo>
                      <a:pt x="317588" y="1707"/>
                    </a:lnTo>
                    <a:lnTo>
                      <a:pt x="249188" y="15359"/>
                    </a:lnTo>
                    <a:lnTo>
                      <a:pt x="185044" y="42285"/>
                    </a:lnTo>
                    <a:lnTo>
                      <a:pt x="128468" y="80137"/>
                    </a:lnTo>
                    <a:lnTo>
                      <a:pt x="80280" y="128238"/>
                    </a:lnTo>
                    <a:lnTo>
                      <a:pt x="42341" y="184724"/>
                    </a:lnTo>
                    <a:lnTo>
                      <a:pt x="15376" y="248735"/>
                    </a:lnTo>
                    <a:lnTo>
                      <a:pt x="1708" y="317007"/>
                    </a:lnTo>
                    <a:lnTo>
                      <a:pt x="0" y="796928"/>
                    </a:lnTo>
                    <a:lnTo>
                      <a:pt x="2168" y="820758"/>
                    </a:lnTo>
                    <a:lnTo>
                      <a:pt x="19533" y="862335"/>
                    </a:lnTo>
                    <a:lnTo>
                      <a:pt x="52892" y="894767"/>
                    </a:lnTo>
                    <a:lnTo>
                      <a:pt x="93861" y="911522"/>
                    </a:lnTo>
                    <a:lnTo>
                      <a:pt x="116677" y="913616"/>
                    </a:lnTo>
                    <a:lnTo>
                      <a:pt x="140563" y="911522"/>
                    </a:lnTo>
                    <a:lnTo>
                      <a:pt x="182767" y="894767"/>
                    </a:lnTo>
                    <a:lnTo>
                      <a:pt x="216294" y="862335"/>
                    </a:lnTo>
                    <a:lnTo>
                      <a:pt x="233673" y="820758"/>
                    </a:lnTo>
                    <a:lnTo>
                      <a:pt x="235846" y="399705"/>
                    </a:lnTo>
                    <a:lnTo>
                      <a:pt x="238871" y="367350"/>
                    </a:lnTo>
                    <a:lnTo>
                      <a:pt x="263075" y="309626"/>
                    </a:lnTo>
                    <a:lnTo>
                      <a:pt x="309626" y="263079"/>
                    </a:lnTo>
                    <a:lnTo>
                      <a:pt x="367351" y="238871"/>
                    </a:lnTo>
                    <a:lnTo>
                      <a:pt x="399705" y="235846"/>
                    </a:lnTo>
                    <a:lnTo>
                      <a:pt x="1285757" y="235846"/>
                    </a:lnTo>
                    <a:lnTo>
                      <a:pt x="1278495" y="215982"/>
                    </a:lnTo>
                    <a:lnTo>
                      <a:pt x="1246171" y="155474"/>
                    </a:lnTo>
                    <a:lnTo>
                      <a:pt x="1203890" y="103023"/>
                    </a:lnTo>
                    <a:lnTo>
                      <a:pt x="1152282" y="59894"/>
                    </a:lnTo>
                    <a:lnTo>
                      <a:pt x="1091935" y="27297"/>
                    </a:lnTo>
                    <a:lnTo>
                      <a:pt x="1025404" y="6828"/>
                    </a:lnTo>
                    <a:lnTo>
                      <a:pt x="990751" y="1707"/>
                    </a:lnTo>
                    <a:lnTo>
                      <a:pt x="955175" y="0"/>
                    </a:lnTo>
                    <a:close/>
                  </a:path>
                  <a:path w="1306195" h="913765">
                    <a:moveTo>
                      <a:pt x="652943" y="297917"/>
                    </a:moveTo>
                    <a:lnTo>
                      <a:pt x="606988" y="306608"/>
                    </a:lnTo>
                    <a:lnTo>
                      <a:pt x="568516" y="332670"/>
                    </a:lnTo>
                    <a:lnTo>
                      <a:pt x="542452" y="371168"/>
                    </a:lnTo>
                    <a:lnTo>
                      <a:pt x="533774" y="417086"/>
                    </a:lnTo>
                    <a:lnTo>
                      <a:pt x="533774" y="796928"/>
                    </a:lnTo>
                    <a:lnTo>
                      <a:pt x="542452" y="842558"/>
                    </a:lnTo>
                    <a:lnTo>
                      <a:pt x="568516" y="880098"/>
                    </a:lnTo>
                    <a:lnTo>
                      <a:pt x="606988" y="905240"/>
                    </a:lnTo>
                    <a:lnTo>
                      <a:pt x="652943" y="913616"/>
                    </a:lnTo>
                    <a:lnTo>
                      <a:pt x="676749" y="911522"/>
                    </a:lnTo>
                    <a:lnTo>
                      <a:pt x="718338" y="894767"/>
                    </a:lnTo>
                    <a:lnTo>
                      <a:pt x="750773" y="862335"/>
                    </a:lnTo>
                    <a:lnTo>
                      <a:pt x="767534" y="820758"/>
                    </a:lnTo>
                    <a:lnTo>
                      <a:pt x="769631" y="796928"/>
                    </a:lnTo>
                    <a:lnTo>
                      <a:pt x="769631" y="417086"/>
                    </a:lnTo>
                    <a:lnTo>
                      <a:pt x="761247" y="371168"/>
                    </a:lnTo>
                    <a:lnTo>
                      <a:pt x="736113" y="332670"/>
                    </a:lnTo>
                    <a:lnTo>
                      <a:pt x="698549" y="306608"/>
                    </a:lnTo>
                    <a:lnTo>
                      <a:pt x="652943" y="297917"/>
                    </a:lnTo>
                    <a:close/>
                  </a:path>
                  <a:path w="1306195" h="913765">
                    <a:moveTo>
                      <a:pt x="1285757" y="235846"/>
                    </a:moveTo>
                    <a:lnTo>
                      <a:pt x="906171" y="235846"/>
                    </a:lnTo>
                    <a:lnTo>
                      <a:pt x="938524" y="238871"/>
                    </a:lnTo>
                    <a:lnTo>
                      <a:pt x="968549" y="247949"/>
                    </a:lnTo>
                    <a:lnTo>
                      <a:pt x="1021612" y="284263"/>
                    </a:lnTo>
                    <a:lnTo>
                      <a:pt x="1057921" y="337323"/>
                    </a:lnTo>
                    <a:lnTo>
                      <a:pt x="1070019" y="399705"/>
                    </a:lnTo>
                    <a:lnTo>
                      <a:pt x="1070019" y="796928"/>
                    </a:lnTo>
                    <a:lnTo>
                      <a:pt x="1072137" y="820758"/>
                    </a:lnTo>
                    <a:lnTo>
                      <a:pt x="1089076" y="862335"/>
                    </a:lnTo>
                    <a:lnTo>
                      <a:pt x="1121842" y="894767"/>
                    </a:lnTo>
                    <a:lnTo>
                      <a:pt x="1163871" y="911522"/>
                    </a:lnTo>
                    <a:lnTo>
                      <a:pt x="1187963" y="913616"/>
                    </a:lnTo>
                    <a:lnTo>
                      <a:pt x="1212023" y="911522"/>
                    </a:lnTo>
                    <a:lnTo>
                      <a:pt x="1254061" y="894767"/>
                    </a:lnTo>
                    <a:lnTo>
                      <a:pt x="1286830" y="862335"/>
                    </a:lnTo>
                    <a:lnTo>
                      <a:pt x="1303768" y="820758"/>
                    </a:lnTo>
                    <a:lnTo>
                      <a:pt x="1305886" y="796928"/>
                    </a:lnTo>
                    <a:lnTo>
                      <a:pt x="1305812" y="350992"/>
                    </a:lnTo>
                    <a:lnTo>
                      <a:pt x="1304172" y="317007"/>
                    </a:lnTo>
                    <a:lnTo>
                      <a:pt x="1299031" y="282408"/>
                    </a:lnTo>
                    <a:lnTo>
                      <a:pt x="1290470" y="248735"/>
                    </a:lnTo>
                    <a:lnTo>
                      <a:pt x="1285757" y="235846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49" name="object 10"/>
              <p:cNvSpPr>
                <a:spLocks noChangeArrowheads="1"/>
              </p:cNvSpPr>
              <p:nvPr userDrawn="1"/>
            </p:nvSpPr>
            <p:spPr bwMode="auto">
              <a:xfrm>
                <a:off x="10213975" y="7029450"/>
                <a:ext cx="1068388" cy="912813"/>
              </a:xfrm>
              <a:custGeom>
                <a:avLst/>
                <a:gdLst>
                  <a:gd name="T0" fmla="*/ 355842 w 1068070"/>
                  <a:gd name="T1" fmla="*/ 0 h 913765"/>
                  <a:gd name="T2" fmla="*/ 249469 w 1068070"/>
                  <a:gd name="T3" fmla="*/ 15359 h 913765"/>
                  <a:gd name="T4" fmla="*/ 128549 w 1068070"/>
                  <a:gd name="T5" fmla="*/ 80137 h 913765"/>
                  <a:gd name="T6" fmla="*/ 42358 w 1068070"/>
                  <a:gd name="T7" fmla="*/ 184724 h 913765"/>
                  <a:gd name="T8" fmla="*/ 1710 w 1068070"/>
                  <a:gd name="T9" fmla="*/ 317011 h 913765"/>
                  <a:gd name="T10" fmla="*/ 0 w 1068070"/>
                  <a:gd name="T11" fmla="*/ 561082 h 913765"/>
                  <a:gd name="T12" fmla="*/ 27360 w 1068070"/>
                  <a:gd name="T13" fmla="*/ 698868 h 913765"/>
                  <a:gd name="T14" fmla="*/ 103274 w 1068070"/>
                  <a:gd name="T15" fmla="*/ 810593 h 913765"/>
                  <a:gd name="T16" fmla="*/ 216496 w 1068070"/>
                  <a:gd name="T17" fmla="*/ 886308 h 913765"/>
                  <a:gd name="T18" fmla="*/ 355842 w 1068070"/>
                  <a:gd name="T19" fmla="*/ 913616 h 913765"/>
                  <a:gd name="T20" fmla="*/ 784500 w 1068070"/>
                  <a:gd name="T21" fmla="*/ 906802 h 913765"/>
                  <a:gd name="T22" fmla="*/ 911728 w 1068070"/>
                  <a:gd name="T23" fmla="*/ 853727 h 913765"/>
                  <a:gd name="T24" fmla="*/ 1007534 w 1068070"/>
                  <a:gd name="T25" fmla="*/ 758449 h 913765"/>
                  <a:gd name="T26" fmla="*/ 1047980 w 1068070"/>
                  <a:gd name="T27" fmla="*/ 677769 h 913765"/>
                  <a:gd name="T28" fmla="*/ 368753 w 1068070"/>
                  <a:gd name="T29" fmla="*/ 674822 h 913765"/>
                  <a:gd name="T30" fmla="*/ 263091 w 1068070"/>
                  <a:gd name="T31" fmla="*/ 605628 h 913765"/>
                  <a:gd name="T32" fmla="*/ 235867 w 1068070"/>
                  <a:gd name="T33" fmla="*/ 513911 h 913765"/>
                  <a:gd name="T34" fmla="*/ 247964 w 1068070"/>
                  <a:gd name="T35" fmla="*/ 337327 h 913765"/>
                  <a:gd name="T36" fmla="*/ 337954 w 1068070"/>
                  <a:gd name="T37" fmla="*/ 247953 h 913765"/>
                  <a:gd name="T38" fmla="*/ 1047433 w 1068070"/>
                  <a:gd name="T39" fmla="*/ 235846 h 913765"/>
                  <a:gd name="T40" fmla="*/ 1007534 w 1068070"/>
                  <a:gd name="T41" fmla="*/ 155474 h 913765"/>
                  <a:gd name="T42" fmla="*/ 911728 w 1068070"/>
                  <a:gd name="T43" fmla="*/ 59894 h 913765"/>
                  <a:gd name="T44" fmla="*/ 784500 w 1068070"/>
                  <a:gd name="T45" fmla="*/ 6828 h 913765"/>
                  <a:gd name="T46" fmla="*/ 714208 w 1068070"/>
                  <a:gd name="T47" fmla="*/ 0 h 913765"/>
                  <a:gd name="T48" fmla="*/ 665361 w 1068070"/>
                  <a:gd name="T49" fmla="*/ 235846 h 913765"/>
                  <a:gd name="T50" fmla="*/ 728048 w 1068070"/>
                  <a:gd name="T51" fmla="*/ 247953 h 913765"/>
                  <a:gd name="T52" fmla="*/ 819293 w 1068070"/>
                  <a:gd name="T53" fmla="*/ 337327 h 913765"/>
                  <a:gd name="T54" fmla="*/ 831712 w 1068070"/>
                  <a:gd name="T55" fmla="*/ 513911 h 913765"/>
                  <a:gd name="T56" fmla="*/ 782049 w 1068070"/>
                  <a:gd name="T57" fmla="*/ 630598 h 913765"/>
                  <a:gd name="T58" fmla="*/ 665361 w 1068070"/>
                  <a:gd name="T59" fmla="*/ 677769 h 913765"/>
                  <a:gd name="T60" fmla="*/ 1052142 w 1068070"/>
                  <a:gd name="T61" fmla="*/ 666515 h 913765"/>
                  <a:gd name="T62" fmla="*/ 1065842 w 1068070"/>
                  <a:gd name="T63" fmla="*/ 597623 h 913765"/>
                  <a:gd name="T64" fmla="*/ 1067559 w 1068070"/>
                  <a:gd name="T65" fmla="*/ 352533 h 913765"/>
                  <a:gd name="T66" fmla="*/ 1060700 w 1068070"/>
                  <a:gd name="T67" fmla="*/ 282412 h 913765"/>
                  <a:gd name="T68" fmla="*/ 1047433 w 1068070"/>
                  <a:gd name="T69" fmla="*/ 235846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68070" h="913765">
                    <a:moveTo>
                      <a:pt x="714208" y="0"/>
                    </a:moveTo>
                    <a:lnTo>
                      <a:pt x="355842" y="0"/>
                    </a:lnTo>
                    <a:lnTo>
                      <a:pt x="319140" y="1707"/>
                    </a:lnTo>
                    <a:lnTo>
                      <a:pt x="249469" y="15359"/>
                    </a:lnTo>
                    <a:lnTo>
                      <a:pt x="185159" y="42285"/>
                    </a:lnTo>
                    <a:lnTo>
                      <a:pt x="128549" y="80137"/>
                    </a:lnTo>
                    <a:lnTo>
                      <a:pt x="80325" y="128238"/>
                    </a:lnTo>
                    <a:lnTo>
                      <a:pt x="42358" y="184724"/>
                    </a:lnTo>
                    <a:lnTo>
                      <a:pt x="15390" y="248736"/>
                    </a:lnTo>
                    <a:lnTo>
                      <a:pt x="1710" y="317011"/>
                    </a:lnTo>
                    <a:lnTo>
                      <a:pt x="0" y="352533"/>
                    </a:lnTo>
                    <a:lnTo>
                      <a:pt x="0" y="561082"/>
                    </a:lnTo>
                    <a:lnTo>
                      <a:pt x="6840" y="632767"/>
                    </a:lnTo>
                    <a:lnTo>
                      <a:pt x="27360" y="698868"/>
                    </a:lnTo>
                    <a:lnTo>
                      <a:pt x="60016" y="758449"/>
                    </a:lnTo>
                    <a:lnTo>
                      <a:pt x="103274" y="810593"/>
                    </a:lnTo>
                    <a:lnTo>
                      <a:pt x="155844" y="853727"/>
                    </a:lnTo>
                    <a:lnTo>
                      <a:pt x="216496" y="886308"/>
                    </a:lnTo>
                    <a:lnTo>
                      <a:pt x="283683" y="906802"/>
                    </a:lnTo>
                    <a:lnTo>
                      <a:pt x="355842" y="913616"/>
                    </a:lnTo>
                    <a:lnTo>
                      <a:pt x="714208" y="913616"/>
                    </a:lnTo>
                    <a:lnTo>
                      <a:pt x="784500" y="906802"/>
                    </a:lnTo>
                    <a:lnTo>
                      <a:pt x="851063" y="886308"/>
                    </a:lnTo>
                    <a:lnTo>
                      <a:pt x="911728" y="853727"/>
                    </a:lnTo>
                    <a:lnTo>
                      <a:pt x="964305" y="810593"/>
                    </a:lnTo>
                    <a:lnTo>
                      <a:pt x="1007534" y="758449"/>
                    </a:lnTo>
                    <a:lnTo>
                      <a:pt x="1040177" y="698868"/>
                    </a:lnTo>
                    <a:lnTo>
                      <a:pt x="1047980" y="677769"/>
                    </a:lnTo>
                    <a:lnTo>
                      <a:pt x="402197" y="677769"/>
                    </a:lnTo>
                    <a:lnTo>
                      <a:pt x="368753" y="674822"/>
                    </a:lnTo>
                    <a:lnTo>
                      <a:pt x="309795" y="651239"/>
                    </a:lnTo>
                    <a:lnTo>
                      <a:pt x="263091" y="605628"/>
                    </a:lnTo>
                    <a:lnTo>
                      <a:pt x="238891" y="547280"/>
                    </a:lnTo>
                    <a:lnTo>
                      <a:pt x="235867" y="513911"/>
                    </a:lnTo>
                    <a:lnTo>
                      <a:pt x="235867" y="399705"/>
                    </a:lnTo>
                    <a:lnTo>
                      <a:pt x="247964" y="337327"/>
                    </a:lnTo>
                    <a:lnTo>
                      <a:pt x="284274" y="284263"/>
                    </a:lnTo>
                    <a:lnTo>
                      <a:pt x="337954" y="247953"/>
                    </a:lnTo>
                    <a:lnTo>
                      <a:pt x="402197" y="235846"/>
                    </a:lnTo>
                    <a:lnTo>
                      <a:pt x="1047433" y="235846"/>
                    </a:lnTo>
                    <a:lnTo>
                      <a:pt x="1040177" y="215982"/>
                    </a:lnTo>
                    <a:lnTo>
                      <a:pt x="1007534" y="155474"/>
                    </a:lnTo>
                    <a:lnTo>
                      <a:pt x="964305" y="103023"/>
                    </a:lnTo>
                    <a:lnTo>
                      <a:pt x="911728" y="59894"/>
                    </a:lnTo>
                    <a:lnTo>
                      <a:pt x="851063" y="27297"/>
                    </a:lnTo>
                    <a:lnTo>
                      <a:pt x="784500" y="6828"/>
                    </a:lnTo>
                    <a:lnTo>
                      <a:pt x="749820" y="1707"/>
                    </a:lnTo>
                    <a:lnTo>
                      <a:pt x="714208" y="0"/>
                    </a:lnTo>
                    <a:close/>
                  </a:path>
                  <a:path w="1068070" h="913765">
                    <a:moveTo>
                      <a:pt x="1047433" y="235846"/>
                    </a:moveTo>
                    <a:lnTo>
                      <a:pt x="665361" y="235846"/>
                    </a:lnTo>
                    <a:lnTo>
                      <a:pt x="697794" y="238873"/>
                    </a:lnTo>
                    <a:lnTo>
                      <a:pt x="728048" y="247953"/>
                    </a:lnTo>
                    <a:lnTo>
                      <a:pt x="782049" y="284263"/>
                    </a:lnTo>
                    <a:lnTo>
                      <a:pt x="819293" y="337327"/>
                    </a:lnTo>
                    <a:lnTo>
                      <a:pt x="831712" y="399705"/>
                    </a:lnTo>
                    <a:lnTo>
                      <a:pt x="831712" y="513911"/>
                    </a:lnTo>
                    <a:lnTo>
                      <a:pt x="819293" y="577854"/>
                    </a:lnTo>
                    <a:lnTo>
                      <a:pt x="782049" y="630598"/>
                    </a:lnTo>
                    <a:lnTo>
                      <a:pt x="728048" y="665979"/>
                    </a:lnTo>
                    <a:lnTo>
                      <a:pt x="665361" y="677769"/>
                    </a:lnTo>
                    <a:lnTo>
                      <a:pt x="1047980" y="677769"/>
                    </a:lnTo>
                    <a:lnTo>
                      <a:pt x="1052142" y="666515"/>
                    </a:lnTo>
                    <a:lnTo>
                      <a:pt x="1060700" y="632767"/>
                    </a:lnTo>
                    <a:lnTo>
                      <a:pt x="1065842" y="597623"/>
                    </a:lnTo>
                    <a:lnTo>
                      <a:pt x="1067559" y="561082"/>
                    </a:lnTo>
                    <a:lnTo>
                      <a:pt x="1067559" y="352533"/>
                    </a:lnTo>
                    <a:lnTo>
                      <a:pt x="1065842" y="317011"/>
                    </a:lnTo>
                    <a:lnTo>
                      <a:pt x="1060700" y="282412"/>
                    </a:lnTo>
                    <a:lnTo>
                      <a:pt x="1052142" y="248736"/>
                    </a:lnTo>
                    <a:lnTo>
                      <a:pt x="1047433" y="235846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0" name="object 11"/>
              <p:cNvSpPr>
                <a:spLocks noChangeArrowheads="1"/>
              </p:cNvSpPr>
              <p:nvPr userDrawn="1"/>
            </p:nvSpPr>
            <p:spPr bwMode="auto">
              <a:xfrm>
                <a:off x="11460163" y="6557010"/>
                <a:ext cx="1555750" cy="1985963"/>
              </a:xfrm>
              <a:custGeom>
                <a:avLst/>
                <a:gdLst>
                  <a:gd name="T0" fmla="*/ 1097965 w 1554480"/>
                  <a:gd name="T1" fmla="*/ 751649 h 1986279"/>
                  <a:gd name="T2" fmla="*/ 1044575 w 1554480"/>
                  <a:gd name="T3" fmla="*/ 625030 h 1986279"/>
                  <a:gd name="T4" fmla="*/ 949007 w 1554480"/>
                  <a:gd name="T5" fmla="*/ 529450 h 1986279"/>
                  <a:gd name="T6" fmla="*/ 822375 w 1554480"/>
                  <a:gd name="T7" fmla="*/ 476072 h 1986279"/>
                  <a:gd name="T8" fmla="*/ 429514 w 1554480"/>
                  <a:gd name="T9" fmla="*/ 469239 h 1986279"/>
                  <a:gd name="T10" fmla="*/ 345109 w 1554480"/>
                  <a:gd name="T11" fmla="*/ 503986 h 1986279"/>
                  <a:gd name="T12" fmla="*/ 310349 w 1554480"/>
                  <a:gd name="T13" fmla="*/ 585914 h 1986279"/>
                  <a:gd name="T14" fmla="*/ 329882 w 1554480"/>
                  <a:gd name="T15" fmla="*/ 652030 h 1986279"/>
                  <a:gd name="T16" fmla="*/ 405599 w 1554480"/>
                  <a:gd name="T17" fmla="*/ 702919 h 1986279"/>
                  <a:gd name="T18" fmla="*/ 775055 w 1554480"/>
                  <a:gd name="T19" fmla="*/ 707263 h 1986279"/>
                  <a:gd name="T20" fmla="*/ 849388 w 1554480"/>
                  <a:gd name="T21" fmla="*/ 757072 h 1986279"/>
                  <a:gd name="T22" fmla="*/ 868946 w 1554480"/>
                  <a:gd name="T23" fmla="*/ 821766 h 1986279"/>
                  <a:gd name="T24" fmla="*/ 860247 w 1554480"/>
                  <a:gd name="T25" fmla="*/ 1078115 h 1986279"/>
                  <a:gd name="T26" fmla="*/ 796315 w 1554480"/>
                  <a:gd name="T27" fmla="*/ 1138326 h 1986279"/>
                  <a:gd name="T28" fmla="*/ 352539 w 1554480"/>
                  <a:gd name="T29" fmla="*/ 1147013 h 1986279"/>
                  <a:gd name="T30" fmla="*/ 268135 w 1554480"/>
                  <a:gd name="T31" fmla="*/ 1112240 h 1986279"/>
                  <a:gd name="T32" fmla="*/ 235851 w 1554480"/>
                  <a:gd name="T33" fmla="*/ 1030325 h 1986279"/>
                  <a:gd name="T34" fmla="*/ 233680 w 1554480"/>
                  <a:gd name="T35" fmla="*/ 92887 h 1986279"/>
                  <a:gd name="T36" fmla="*/ 182791 w 1554480"/>
                  <a:gd name="T37" fmla="*/ 18859 h 1986279"/>
                  <a:gd name="T38" fmla="*/ 116700 w 1554480"/>
                  <a:gd name="T39" fmla="*/ 0 h 1986279"/>
                  <a:gd name="T40" fmla="*/ 51282 w 1554480"/>
                  <a:gd name="T41" fmla="*/ 18859 h 1986279"/>
                  <a:gd name="T42" fmla="*/ 2095 w 1554480"/>
                  <a:gd name="T43" fmla="*/ 92887 h 1986279"/>
                  <a:gd name="T44" fmla="*/ 0 w 1554480"/>
                  <a:gd name="T45" fmla="*/ 1030325 h 1986279"/>
                  <a:gd name="T46" fmla="*/ 27330 w 1554480"/>
                  <a:gd name="T47" fmla="*/ 1166876 h 1986279"/>
                  <a:gd name="T48" fmla="*/ 104279 w 1554480"/>
                  <a:gd name="T49" fmla="*/ 1281061 h 1986279"/>
                  <a:gd name="T50" fmla="*/ 214757 w 1554480"/>
                  <a:gd name="T51" fmla="*/ 1355559 h 1986279"/>
                  <a:gd name="T52" fmla="*/ 352539 w 1554480"/>
                  <a:gd name="T53" fmla="*/ 1382852 h 1986279"/>
                  <a:gd name="T54" fmla="*/ 822375 w 1554480"/>
                  <a:gd name="T55" fmla="*/ 1376032 h 1986279"/>
                  <a:gd name="T56" fmla="*/ 949007 w 1554480"/>
                  <a:gd name="T57" fmla="*/ 1323289 h 1986279"/>
                  <a:gd name="T58" fmla="*/ 1044575 w 1554480"/>
                  <a:gd name="T59" fmla="*/ 1227709 h 1986279"/>
                  <a:gd name="T60" fmla="*/ 1097965 w 1554480"/>
                  <a:gd name="T61" fmla="*/ 1100467 h 1986279"/>
                  <a:gd name="T62" fmla="*/ 1104798 w 1554480"/>
                  <a:gd name="T63" fmla="*/ 821766 h 1986279"/>
                  <a:gd name="T64" fmla="*/ 1546021 w 1554480"/>
                  <a:gd name="T65" fmla="*/ 559244 h 1986279"/>
                  <a:gd name="T66" fmla="*/ 1483334 w 1554480"/>
                  <a:gd name="T67" fmla="*/ 495300 h 1986279"/>
                  <a:gd name="T68" fmla="*/ 1413814 w 1554480"/>
                  <a:gd name="T69" fmla="*/ 488784 h 1986279"/>
                  <a:gd name="T70" fmla="*/ 1338084 w 1554480"/>
                  <a:gd name="T71" fmla="*/ 539534 h 1986279"/>
                  <a:gd name="T72" fmla="*/ 1318539 w 1554480"/>
                  <a:gd name="T73" fmla="*/ 603300 h 1986279"/>
                  <a:gd name="T74" fmla="*/ 1316520 w 1554480"/>
                  <a:gd name="T75" fmla="*/ 1658429 h 1986279"/>
                  <a:gd name="T76" fmla="*/ 1269034 w 1554480"/>
                  <a:gd name="T77" fmla="*/ 1732127 h 1986279"/>
                  <a:gd name="T78" fmla="*/ 1204353 w 1554480"/>
                  <a:gd name="T79" fmla="*/ 1750301 h 1986279"/>
                  <a:gd name="T80" fmla="*/ 1024204 w 1554480"/>
                  <a:gd name="T81" fmla="*/ 1752460 h 1986279"/>
                  <a:gd name="T82" fmla="*/ 951903 w 1554480"/>
                  <a:gd name="T83" fmla="*/ 1803349 h 1986279"/>
                  <a:gd name="T84" fmla="*/ 933729 w 1554480"/>
                  <a:gd name="T85" fmla="*/ 1869465 h 1986279"/>
                  <a:gd name="T86" fmla="*/ 951903 w 1554480"/>
                  <a:gd name="T87" fmla="*/ 1934870 h 1986279"/>
                  <a:gd name="T88" fmla="*/ 1024204 w 1554480"/>
                  <a:gd name="T89" fmla="*/ 1984057 h 1986279"/>
                  <a:gd name="T90" fmla="*/ 1204353 w 1554480"/>
                  <a:gd name="T91" fmla="*/ 1986153 h 1986279"/>
                  <a:gd name="T92" fmla="*/ 1339659 w 1554480"/>
                  <a:gd name="T93" fmla="*/ 1958835 h 1986279"/>
                  <a:gd name="T94" fmla="*/ 1452626 w 1554480"/>
                  <a:gd name="T95" fmla="*/ 1881873 h 1986279"/>
                  <a:gd name="T96" fmla="*/ 1509166 w 1554480"/>
                  <a:gd name="T97" fmla="*/ 1811248 h 1986279"/>
                  <a:gd name="T98" fmla="*/ 1543088 w 1554480"/>
                  <a:gd name="T99" fmla="*/ 1728495 h 1986279"/>
                  <a:gd name="T100" fmla="*/ 1554403 w 1554480"/>
                  <a:gd name="T101" fmla="*/ 1633613 h 1986279"/>
                  <a:gd name="T102" fmla="*/ 1554403 w 1554480"/>
                  <a:gd name="T103" fmla="*/ 219760 h 1986279"/>
                  <a:gd name="T104" fmla="*/ 1520888 w 1554480"/>
                  <a:gd name="T105" fmla="*/ 137439 h 1986279"/>
                  <a:gd name="T106" fmla="*/ 1437716 w 1554480"/>
                  <a:gd name="T107" fmla="*/ 104267 h 1986279"/>
                  <a:gd name="T108" fmla="*/ 1371612 w 1554480"/>
                  <a:gd name="T109" fmla="*/ 122936 h 1986279"/>
                  <a:gd name="T110" fmla="*/ 1320711 w 1554480"/>
                  <a:gd name="T111" fmla="*/ 196202 h 1986279"/>
                  <a:gd name="T112" fmla="*/ 1318539 w 1554480"/>
                  <a:gd name="T113" fmla="*/ 222211 h 1986279"/>
                  <a:gd name="T114" fmla="*/ 1353312 w 1554480"/>
                  <a:gd name="T115" fmla="*/ 305765 h 1986279"/>
                  <a:gd name="T116" fmla="*/ 1437716 w 1554480"/>
                  <a:gd name="T117" fmla="*/ 340131 h 1986279"/>
                  <a:gd name="T118" fmla="*/ 1503121 w 1554480"/>
                  <a:gd name="T119" fmla="*/ 320802 h 1986279"/>
                  <a:gd name="T120" fmla="*/ 1552308 w 1554480"/>
                  <a:gd name="T121" fmla="*/ 245859 h 1986279"/>
                  <a:gd name="T122" fmla="*/ 1554403 w 1554480"/>
                  <a:gd name="T123" fmla="*/ 219760 h 1986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54480" h="1986279">
                    <a:moveTo>
                      <a:pt x="1104798" y="821766"/>
                    </a:moveTo>
                    <a:lnTo>
                      <a:pt x="1097965" y="751649"/>
                    </a:lnTo>
                    <a:lnTo>
                      <a:pt x="1077493" y="685215"/>
                    </a:lnTo>
                    <a:lnTo>
                      <a:pt x="1044575" y="625030"/>
                    </a:lnTo>
                    <a:lnTo>
                      <a:pt x="1000531" y="573506"/>
                    </a:lnTo>
                    <a:lnTo>
                      <a:pt x="949007" y="529450"/>
                    </a:lnTo>
                    <a:lnTo>
                      <a:pt x="888822" y="496531"/>
                    </a:lnTo>
                    <a:lnTo>
                      <a:pt x="822375" y="476072"/>
                    </a:lnTo>
                    <a:lnTo>
                      <a:pt x="752259" y="469239"/>
                    </a:lnTo>
                    <a:lnTo>
                      <a:pt x="429514" y="469239"/>
                    </a:lnTo>
                    <a:lnTo>
                      <a:pt x="383565" y="477926"/>
                    </a:lnTo>
                    <a:lnTo>
                      <a:pt x="345109" y="503986"/>
                    </a:lnTo>
                    <a:lnTo>
                      <a:pt x="319024" y="541870"/>
                    </a:lnTo>
                    <a:lnTo>
                      <a:pt x="310349" y="585914"/>
                    </a:lnTo>
                    <a:lnTo>
                      <a:pt x="312508" y="609828"/>
                    </a:lnTo>
                    <a:lnTo>
                      <a:pt x="329882" y="652030"/>
                    </a:lnTo>
                    <a:lnTo>
                      <a:pt x="363397" y="685546"/>
                    </a:lnTo>
                    <a:lnTo>
                      <a:pt x="405599" y="702919"/>
                    </a:lnTo>
                    <a:lnTo>
                      <a:pt x="752259" y="705078"/>
                    </a:lnTo>
                    <a:lnTo>
                      <a:pt x="775055" y="707263"/>
                    </a:lnTo>
                    <a:lnTo>
                      <a:pt x="816025" y="724649"/>
                    </a:lnTo>
                    <a:lnTo>
                      <a:pt x="849388" y="757072"/>
                    </a:lnTo>
                    <a:lnTo>
                      <a:pt x="866775" y="798042"/>
                    </a:lnTo>
                    <a:lnTo>
                      <a:pt x="868946" y="821766"/>
                    </a:lnTo>
                    <a:lnTo>
                      <a:pt x="868946" y="1030325"/>
                    </a:lnTo>
                    <a:lnTo>
                      <a:pt x="860247" y="1078115"/>
                    </a:lnTo>
                    <a:lnTo>
                      <a:pt x="834186" y="1112240"/>
                    </a:lnTo>
                    <a:lnTo>
                      <a:pt x="796315" y="1138326"/>
                    </a:lnTo>
                    <a:lnTo>
                      <a:pt x="752259" y="1147013"/>
                    </a:lnTo>
                    <a:lnTo>
                      <a:pt x="352539" y="1147013"/>
                    </a:lnTo>
                    <a:lnTo>
                      <a:pt x="309092" y="1138326"/>
                    </a:lnTo>
                    <a:lnTo>
                      <a:pt x="268135" y="1112240"/>
                    </a:lnTo>
                    <a:lnTo>
                      <a:pt x="243916" y="1076871"/>
                    </a:lnTo>
                    <a:lnTo>
                      <a:pt x="235851" y="1030325"/>
                    </a:lnTo>
                    <a:lnTo>
                      <a:pt x="235851" y="116687"/>
                    </a:lnTo>
                    <a:lnTo>
                      <a:pt x="233680" y="92887"/>
                    </a:lnTo>
                    <a:lnTo>
                      <a:pt x="216306" y="51295"/>
                    </a:lnTo>
                    <a:lnTo>
                      <a:pt x="182791" y="18859"/>
                    </a:lnTo>
                    <a:lnTo>
                      <a:pt x="140576" y="2095"/>
                    </a:lnTo>
                    <a:lnTo>
                      <a:pt x="116700" y="0"/>
                    </a:lnTo>
                    <a:lnTo>
                      <a:pt x="92862" y="2095"/>
                    </a:lnTo>
                    <a:lnTo>
                      <a:pt x="51282" y="18859"/>
                    </a:lnTo>
                    <a:lnTo>
                      <a:pt x="18859" y="51295"/>
                    </a:lnTo>
                    <a:lnTo>
                      <a:pt x="2095" y="92887"/>
                    </a:lnTo>
                    <a:lnTo>
                      <a:pt x="0" y="116687"/>
                    </a:lnTo>
                    <a:lnTo>
                      <a:pt x="0" y="1030325"/>
                    </a:lnTo>
                    <a:lnTo>
                      <a:pt x="6819" y="1100467"/>
                    </a:lnTo>
                    <a:lnTo>
                      <a:pt x="27330" y="1166876"/>
                    </a:lnTo>
                    <a:lnTo>
                      <a:pt x="60198" y="1227709"/>
                    </a:lnTo>
                    <a:lnTo>
                      <a:pt x="104279" y="1281061"/>
                    </a:lnTo>
                    <a:lnTo>
                      <a:pt x="155473" y="1323289"/>
                    </a:lnTo>
                    <a:lnTo>
                      <a:pt x="214757" y="1355559"/>
                    </a:lnTo>
                    <a:lnTo>
                      <a:pt x="280860" y="1376032"/>
                    </a:lnTo>
                    <a:lnTo>
                      <a:pt x="352539" y="1382852"/>
                    </a:lnTo>
                    <a:lnTo>
                      <a:pt x="752259" y="1382852"/>
                    </a:lnTo>
                    <a:lnTo>
                      <a:pt x="822375" y="1376032"/>
                    </a:lnTo>
                    <a:lnTo>
                      <a:pt x="888822" y="1355559"/>
                    </a:lnTo>
                    <a:lnTo>
                      <a:pt x="949007" y="1323289"/>
                    </a:lnTo>
                    <a:lnTo>
                      <a:pt x="1000531" y="1281061"/>
                    </a:lnTo>
                    <a:lnTo>
                      <a:pt x="1044575" y="1227709"/>
                    </a:lnTo>
                    <a:lnTo>
                      <a:pt x="1077493" y="1166876"/>
                    </a:lnTo>
                    <a:lnTo>
                      <a:pt x="1097965" y="1100467"/>
                    </a:lnTo>
                    <a:lnTo>
                      <a:pt x="1104798" y="1030325"/>
                    </a:lnTo>
                    <a:lnTo>
                      <a:pt x="1104798" y="821766"/>
                    </a:lnTo>
                    <a:close/>
                  </a:path>
                  <a:path w="1554480" h="1986279">
                    <a:moveTo>
                      <a:pt x="1554403" y="603300"/>
                    </a:moveTo>
                    <a:lnTo>
                      <a:pt x="1546021" y="559244"/>
                    </a:lnTo>
                    <a:lnTo>
                      <a:pt x="1520888" y="521373"/>
                    </a:lnTo>
                    <a:lnTo>
                      <a:pt x="1483334" y="495300"/>
                    </a:lnTo>
                    <a:lnTo>
                      <a:pt x="1437716" y="486613"/>
                    </a:lnTo>
                    <a:lnTo>
                      <a:pt x="1413814" y="488784"/>
                    </a:lnTo>
                    <a:lnTo>
                      <a:pt x="1371612" y="506171"/>
                    </a:lnTo>
                    <a:lnTo>
                      <a:pt x="1338084" y="539534"/>
                    </a:lnTo>
                    <a:lnTo>
                      <a:pt x="1320711" y="580504"/>
                    </a:lnTo>
                    <a:lnTo>
                      <a:pt x="1318539" y="603300"/>
                    </a:lnTo>
                    <a:lnTo>
                      <a:pt x="1318539" y="1633613"/>
                    </a:lnTo>
                    <a:lnTo>
                      <a:pt x="1316520" y="1658429"/>
                    </a:lnTo>
                    <a:lnTo>
                      <a:pt x="1300391" y="1700631"/>
                    </a:lnTo>
                    <a:lnTo>
                      <a:pt x="1269034" y="1732127"/>
                    </a:lnTo>
                    <a:lnTo>
                      <a:pt x="1228077" y="1748269"/>
                    </a:lnTo>
                    <a:lnTo>
                      <a:pt x="1204353" y="1750301"/>
                    </a:lnTo>
                    <a:lnTo>
                      <a:pt x="1047940" y="1750301"/>
                    </a:lnTo>
                    <a:lnTo>
                      <a:pt x="1024204" y="1752460"/>
                    </a:lnTo>
                    <a:lnTo>
                      <a:pt x="983246" y="1769833"/>
                    </a:lnTo>
                    <a:lnTo>
                      <a:pt x="951903" y="1803349"/>
                    </a:lnTo>
                    <a:lnTo>
                      <a:pt x="935748" y="1845551"/>
                    </a:lnTo>
                    <a:lnTo>
                      <a:pt x="933729" y="1869465"/>
                    </a:lnTo>
                    <a:lnTo>
                      <a:pt x="935748" y="1893277"/>
                    </a:lnTo>
                    <a:lnTo>
                      <a:pt x="951903" y="1934870"/>
                    </a:lnTo>
                    <a:lnTo>
                      <a:pt x="983246" y="1967293"/>
                    </a:lnTo>
                    <a:lnTo>
                      <a:pt x="1024204" y="1984057"/>
                    </a:lnTo>
                    <a:lnTo>
                      <a:pt x="1047940" y="1986153"/>
                    </a:lnTo>
                    <a:lnTo>
                      <a:pt x="1204353" y="1986153"/>
                    </a:lnTo>
                    <a:lnTo>
                      <a:pt x="1274165" y="1979320"/>
                    </a:lnTo>
                    <a:lnTo>
                      <a:pt x="1339659" y="1958835"/>
                    </a:lnTo>
                    <a:lnTo>
                      <a:pt x="1399540" y="1925929"/>
                    </a:lnTo>
                    <a:lnTo>
                      <a:pt x="1452626" y="1881873"/>
                    </a:lnTo>
                    <a:lnTo>
                      <a:pt x="1483715" y="1848078"/>
                    </a:lnTo>
                    <a:lnTo>
                      <a:pt x="1509166" y="1811248"/>
                    </a:lnTo>
                    <a:lnTo>
                      <a:pt x="1528953" y="1771383"/>
                    </a:lnTo>
                    <a:lnTo>
                      <a:pt x="1543088" y="1728495"/>
                    </a:lnTo>
                    <a:lnTo>
                      <a:pt x="1551571" y="1682559"/>
                    </a:lnTo>
                    <a:lnTo>
                      <a:pt x="1554403" y="1633613"/>
                    </a:lnTo>
                    <a:lnTo>
                      <a:pt x="1554403" y="603300"/>
                    </a:lnTo>
                    <a:close/>
                  </a:path>
                  <a:path w="1554480" h="1986279">
                    <a:moveTo>
                      <a:pt x="1554403" y="219760"/>
                    </a:moveTo>
                    <a:lnTo>
                      <a:pt x="1546021" y="174612"/>
                    </a:lnTo>
                    <a:lnTo>
                      <a:pt x="1520888" y="137439"/>
                    </a:lnTo>
                    <a:lnTo>
                      <a:pt x="1483334" y="112560"/>
                    </a:lnTo>
                    <a:lnTo>
                      <a:pt x="1437716" y="104267"/>
                    </a:lnTo>
                    <a:lnTo>
                      <a:pt x="1413814" y="106349"/>
                    </a:lnTo>
                    <a:lnTo>
                      <a:pt x="1371612" y="122936"/>
                    </a:lnTo>
                    <a:lnTo>
                      <a:pt x="1338084" y="155028"/>
                    </a:lnTo>
                    <a:lnTo>
                      <a:pt x="1320711" y="196202"/>
                    </a:lnTo>
                    <a:lnTo>
                      <a:pt x="1318539" y="219760"/>
                    </a:lnTo>
                    <a:lnTo>
                      <a:pt x="1318539" y="222211"/>
                    </a:lnTo>
                    <a:lnTo>
                      <a:pt x="1327226" y="267677"/>
                    </a:lnTo>
                    <a:lnTo>
                      <a:pt x="1353312" y="305765"/>
                    </a:lnTo>
                    <a:lnTo>
                      <a:pt x="1391780" y="331546"/>
                    </a:lnTo>
                    <a:lnTo>
                      <a:pt x="1437716" y="340131"/>
                    </a:lnTo>
                    <a:lnTo>
                      <a:pt x="1461528" y="337985"/>
                    </a:lnTo>
                    <a:lnTo>
                      <a:pt x="1503121" y="320802"/>
                    </a:lnTo>
                    <a:lnTo>
                      <a:pt x="1535557" y="287642"/>
                    </a:lnTo>
                    <a:lnTo>
                      <a:pt x="1552308" y="245859"/>
                    </a:lnTo>
                    <a:lnTo>
                      <a:pt x="1554403" y="222211"/>
                    </a:lnTo>
                    <a:lnTo>
                      <a:pt x="1554403" y="21976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51" name="object 12"/>
              <p:cNvSpPr>
                <a:spLocks noChangeArrowheads="1"/>
              </p:cNvSpPr>
              <p:nvPr userDrawn="1"/>
            </p:nvSpPr>
            <p:spPr bwMode="auto">
              <a:xfrm>
                <a:off x="13196888" y="7029450"/>
                <a:ext cx="976312" cy="912813"/>
              </a:xfrm>
              <a:custGeom>
                <a:avLst/>
                <a:gdLst>
                  <a:gd name="T0" fmla="*/ 335173 w 975994"/>
                  <a:gd name="T1" fmla="*/ 0 h 913765"/>
                  <a:gd name="T2" fmla="*/ 231116 w 975994"/>
                  <a:gd name="T3" fmla="*/ 13976 h 913765"/>
                  <a:gd name="T4" fmla="*/ 117695 w 975994"/>
                  <a:gd name="T5" fmla="*/ 71851 h 913765"/>
                  <a:gd name="T6" fmla="*/ 38472 w 975994"/>
                  <a:gd name="T7" fmla="*/ 162167 h 913765"/>
                  <a:gd name="T8" fmla="*/ 1549 w 975994"/>
                  <a:gd name="T9" fmla="*/ 274814 h 913765"/>
                  <a:gd name="T10" fmla="*/ 0 w 975994"/>
                  <a:gd name="T11" fmla="*/ 583427 h 913765"/>
                  <a:gd name="T12" fmla="*/ 8383 w 975994"/>
                  <a:gd name="T13" fmla="*/ 664134 h 913765"/>
                  <a:gd name="T14" fmla="*/ 71058 w 975994"/>
                  <a:gd name="T15" fmla="*/ 789184 h 913765"/>
                  <a:gd name="T16" fmla="*/ 168189 w 975994"/>
                  <a:gd name="T17" fmla="*/ 870798 h 913765"/>
                  <a:gd name="T18" fmla="*/ 278664 w 975994"/>
                  <a:gd name="T19" fmla="*/ 908971 h 913765"/>
                  <a:gd name="T20" fmla="*/ 856528 w 975994"/>
                  <a:gd name="T21" fmla="*/ 913626 h 913765"/>
                  <a:gd name="T22" fmla="*/ 940934 w 975994"/>
                  <a:gd name="T23" fmla="*/ 880109 h 913765"/>
                  <a:gd name="T24" fmla="*/ 975698 w 975994"/>
                  <a:gd name="T25" fmla="*/ 796939 h 913765"/>
                  <a:gd name="T26" fmla="*/ 956137 w 975994"/>
                  <a:gd name="T27" fmla="*/ 730848 h 913765"/>
                  <a:gd name="T28" fmla="*/ 880410 w 975994"/>
                  <a:gd name="T29" fmla="*/ 679944 h 913765"/>
                  <a:gd name="T30" fmla="*/ 360286 w 975994"/>
                  <a:gd name="T31" fmla="*/ 675369 h 913765"/>
                  <a:gd name="T32" fmla="*/ 258191 w 975994"/>
                  <a:gd name="T33" fmla="*/ 617030 h 913765"/>
                  <a:gd name="T34" fmla="*/ 235856 w 975994"/>
                  <a:gd name="T35" fmla="*/ 513911 h 913765"/>
                  <a:gd name="T36" fmla="*/ 245468 w 975994"/>
                  <a:gd name="T37" fmla="*/ 318723 h 913765"/>
                  <a:gd name="T38" fmla="*/ 319952 w 975994"/>
                  <a:gd name="T39" fmla="*/ 244864 h 913765"/>
                  <a:gd name="T40" fmla="*/ 692680 w 975994"/>
                  <a:gd name="T41" fmla="*/ 235856 h 913765"/>
                  <a:gd name="T42" fmla="*/ 747286 w 975994"/>
                  <a:gd name="T43" fmla="*/ 296682 h 913765"/>
                  <a:gd name="T44" fmla="*/ 725946 w 975994"/>
                  <a:gd name="T45" fmla="*/ 346817 h 913765"/>
                  <a:gd name="T46" fmla="*/ 407688 w 975994"/>
                  <a:gd name="T47" fmla="*/ 359579 h 913765"/>
                  <a:gd name="T48" fmla="*/ 336319 w 975994"/>
                  <a:gd name="T49" fmla="*/ 407591 h 913765"/>
                  <a:gd name="T50" fmla="*/ 320262 w 975994"/>
                  <a:gd name="T51" fmla="*/ 463022 h 913765"/>
                  <a:gd name="T52" fmla="*/ 336319 w 975994"/>
                  <a:gd name="T53" fmla="*/ 518466 h 913765"/>
                  <a:gd name="T54" fmla="*/ 407688 w 975994"/>
                  <a:gd name="T55" fmla="*/ 566460 h 913765"/>
                  <a:gd name="T56" fmla="*/ 692680 w 975994"/>
                  <a:gd name="T57" fmla="*/ 568527 h 913765"/>
                  <a:gd name="T58" fmla="*/ 782965 w 975994"/>
                  <a:gd name="T59" fmla="*/ 557986 h 913765"/>
                  <a:gd name="T60" fmla="*/ 855282 w 975994"/>
                  <a:gd name="T61" fmla="*/ 526329 h 913765"/>
                  <a:gd name="T62" fmla="*/ 947143 w 975994"/>
                  <a:gd name="T63" fmla="*/ 420814 h 913765"/>
                  <a:gd name="T64" fmla="*/ 970401 w 975994"/>
                  <a:gd name="T65" fmla="*/ 320275 h 913765"/>
                  <a:gd name="T66" fmla="*/ 955516 w 975994"/>
                  <a:gd name="T67" fmla="*/ 213520 h 913765"/>
                  <a:gd name="T68" fmla="*/ 880720 w 975994"/>
                  <a:gd name="T69" fmla="*/ 89694 h 913765"/>
                  <a:gd name="T70" fmla="*/ 819283 w 975994"/>
                  <a:gd name="T71" fmla="*/ 42197 h 913765"/>
                  <a:gd name="T72" fmla="*/ 742935 w 975994"/>
                  <a:gd name="T73" fmla="*/ 10555 h 913765"/>
                  <a:gd name="T74" fmla="*/ 652953 w 975994"/>
                  <a:gd name="T75" fmla="*/ 0 h 913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75994" h="913765">
                    <a:moveTo>
                      <a:pt x="652953" y="0"/>
                    </a:moveTo>
                    <a:lnTo>
                      <a:pt x="335173" y="0"/>
                    </a:lnTo>
                    <a:lnTo>
                      <a:pt x="298778" y="1555"/>
                    </a:lnTo>
                    <a:lnTo>
                      <a:pt x="231116" y="13976"/>
                    </a:lnTo>
                    <a:lnTo>
                      <a:pt x="170444" y="38333"/>
                    </a:lnTo>
                    <a:lnTo>
                      <a:pt x="117695" y="71851"/>
                    </a:lnTo>
                    <a:lnTo>
                      <a:pt x="73233" y="113755"/>
                    </a:lnTo>
                    <a:lnTo>
                      <a:pt x="38472" y="162167"/>
                    </a:lnTo>
                    <a:lnTo>
                      <a:pt x="13958" y="216469"/>
                    </a:lnTo>
                    <a:lnTo>
                      <a:pt x="1549" y="274814"/>
                    </a:lnTo>
                    <a:lnTo>
                      <a:pt x="0" y="305372"/>
                    </a:lnTo>
                    <a:lnTo>
                      <a:pt x="0" y="583427"/>
                    </a:lnTo>
                    <a:lnTo>
                      <a:pt x="2096" y="625337"/>
                    </a:lnTo>
                    <a:lnTo>
                      <a:pt x="8383" y="664134"/>
                    </a:lnTo>
                    <a:lnTo>
                      <a:pt x="33517" y="732386"/>
                    </a:lnTo>
                    <a:lnTo>
                      <a:pt x="71058" y="789184"/>
                    </a:lnTo>
                    <a:lnTo>
                      <a:pt x="116687" y="835419"/>
                    </a:lnTo>
                    <a:lnTo>
                      <a:pt x="168189" y="870798"/>
                    </a:lnTo>
                    <a:lnTo>
                      <a:pt x="223438" y="895009"/>
                    </a:lnTo>
                    <a:lnTo>
                      <a:pt x="278664" y="908971"/>
                    </a:lnTo>
                    <a:lnTo>
                      <a:pt x="330199" y="913626"/>
                    </a:lnTo>
                    <a:lnTo>
                      <a:pt x="856528" y="913626"/>
                    </a:lnTo>
                    <a:lnTo>
                      <a:pt x="902438" y="905247"/>
                    </a:lnTo>
                    <a:lnTo>
                      <a:pt x="940934" y="880109"/>
                    </a:lnTo>
                    <a:lnTo>
                      <a:pt x="967001" y="842568"/>
                    </a:lnTo>
                    <a:lnTo>
                      <a:pt x="975698" y="796939"/>
                    </a:lnTo>
                    <a:lnTo>
                      <a:pt x="973523" y="773053"/>
                    </a:lnTo>
                    <a:lnTo>
                      <a:pt x="956137" y="730848"/>
                    </a:lnTo>
                    <a:lnTo>
                      <a:pt x="922613" y="697325"/>
                    </a:lnTo>
                    <a:lnTo>
                      <a:pt x="880410" y="679944"/>
                    </a:lnTo>
                    <a:lnTo>
                      <a:pt x="399705" y="677769"/>
                    </a:lnTo>
                    <a:lnTo>
                      <a:pt x="360286" y="675369"/>
                    </a:lnTo>
                    <a:lnTo>
                      <a:pt x="298216" y="656137"/>
                    </a:lnTo>
                    <a:lnTo>
                      <a:pt x="258191" y="617030"/>
                    </a:lnTo>
                    <a:lnTo>
                      <a:pt x="238336" y="554345"/>
                    </a:lnTo>
                    <a:lnTo>
                      <a:pt x="235856" y="513911"/>
                    </a:lnTo>
                    <a:lnTo>
                      <a:pt x="235856" y="387297"/>
                    </a:lnTo>
                    <a:lnTo>
                      <a:pt x="245468" y="318723"/>
                    </a:lnTo>
                    <a:lnTo>
                      <a:pt x="274337" y="271855"/>
                    </a:lnTo>
                    <a:lnTo>
                      <a:pt x="319952" y="244864"/>
                    </a:lnTo>
                    <a:lnTo>
                      <a:pt x="379852" y="235856"/>
                    </a:lnTo>
                    <a:lnTo>
                      <a:pt x="692680" y="235856"/>
                    </a:lnTo>
                    <a:lnTo>
                      <a:pt x="733632" y="254850"/>
                    </a:lnTo>
                    <a:lnTo>
                      <a:pt x="747286" y="296682"/>
                    </a:lnTo>
                    <a:lnTo>
                      <a:pt x="746429" y="307850"/>
                    </a:lnTo>
                    <a:lnTo>
                      <a:pt x="725946" y="346817"/>
                    </a:lnTo>
                    <a:lnTo>
                      <a:pt x="434468" y="357507"/>
                    </a:lnTo>
                    <a:lnTo>
                      <a:pt x="407688" y="359579"/>
                    </a:lnTo>
                    <a:lnTo>
                      <a:pt x="364864" y="376144"/>
                    </a:lnTo>
                    <a:lnTo>
                      <a:pt x="336319" y="407591"/>
                    </a:lnTo>
                    <a:lnTo>
                      <a:pt x="322045" y="443790"/>
                    </a:lnTo>
                    <a:lnTo>
                      <a:pt x="320262" y="463022"/>
                    </a:lnTo>
                    <a:lnTo>
                      <a:pt x="322045" y="482272"/>
                    </a:lnTo>
                    <a:lnTo>
                      <a:pt x="336319" y="518466"/>
                    </a:lnTo>
                    <a:lnTo>
                      <a:pt x="364864" y="549907"/>
                    </a:lnTo>
                    <a:lnTo>
                      <a:pt x="407688" y="566460"/>
                    </a:lnTo>
                    <a:lnTo>
                      <a:pt x="434468" y="568527"/>
                    </a:lnTo>
                    <a:lnTo>
                      <a:pt x="692680" y="568527"/>
                    </a:lnTo>
                    <a:lnTo>
                      <a:pt x="740065" y="565893"/>
                    </a:lnTo>
                    <a:lnTo>
                      <a:pt x="782965" y="557986"/>
                    </a:lnTo>
                    <a:lnTo>
                      <a:pt x="821374" y="544801"/>
                    </a:lnTo>
                    <a:lnTo>
                      <a:pt x="855282" y="526329"/>
                    </a:lnTo>
                    <a:lnTo>
                      <a:pt x="909895" y="478853"/>
                    </a:lnTo>
                    <a:lnTo>
                      <a:pt x="947143" y="420814"/>
                    </a:lnTo>
                    <a:lnTo>
                      <a:pt x="966982" y="355029"/>
                    </a:lnTo>
                    <a:lnTo>
                      <a:pt x="970401" y="320275"/>
                    </a:lnTo>
                    <a:lnTo>
                      <a:pt x="969488" y="284274"/>
                    </a:lnTo>
                    <a:lnTo>
                      <a:pt x="955516" y="213520"/>
                    </a:lnTo>
                    <a:lnTo>
                      <a:pt x="926034" y="147723"/>
                    </a:lnTo>
                    <a:lnTo>
                      <a:pt x="880720" y="89694"/>
                    </a:lnTo>
                    <a:lnTo>
                      <a:pt x="852015" y="64633"/>
                    </a:lnTo>
                    <a:lnTo>
                      <a:pt x="819283" y="42197"/>
                    </a:lnTo>
                    <a:lnTo>
                      <a:pt x="782813" y="23743"/>
                    </a:lnTo>
                    <a:lnTo>
                      <a:pt x="742935" y="10555"/>
                    </a:lnTo>
                    <a:lnTo>
                      <a:pt x="699648" y="2639"/>
                    </a:lnTo>
                    <a:lnTo>
                      <a:pt x="652953" y="0"/>
                    </a:lnTo>
                    <a:close/>
                  </a:path>
                </a:pathLst>
              </a:custGeom>
              <a:solidFill>
                <a:srgbClr val="0288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endParaRPr lang="zh-CN" altLang="en-US"/>
              </a:p>
            </p:txBody>
          </p:sp>
        </p:grpSp>
      </p:grpSp>
      <p:sp>
        <p:nvSpPr>
          <p:cNvPr id="79" name="文本框 78"/>
          <p:cNvSpPr txBox="1"/>
          <p:nvPr userDrawn="1"/>
        </p:nvSpPr>
        <p:spPr>
          <a:xfrm>
            <a:off x="340360" y="6400412"/>
            <a:ext cx="17235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latin typeface="方正兰亭细黑_GBK"/>
              </a:rPr>
              <a:t>摩捷智行有限责任公司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6.xml"/><Relationship Id="rId7" Type="http://schemas.openxmlformats.org/officeDocument/2006/relationships/package" Target="../embeddings/Microsoft_Excel_Worksheet2.xlsx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package" Target="../embeddings/Microsoft_Excel_Worksheet1.xlsx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Excel_Worksheet5.xlsx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270" y="918210"/>
            <a:ext cx="12190730" cy="914400"/>
            <a:chOff x="2" y="1446"/>
            <a:chExt cx="19198" cy="1433"/>
          </a:xfrm>
        </p:grpSpPr>
        <p:sp>
          <p:nvSpPr>
            <p:cNvPr id="3" name="矩形 2"/>
            <p:cNvSpPr/>
            <p:nvPr/>
          </p:nvSpPr>
          <p:spPr>
            <a:xfrm>
              <a:off x="2" y="1446"/>
              <a:ext cx="19198" cy="1432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315" y="1734"/>
              <a:ext cx="1659" cy="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rgbClr val="00336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CTION TITLE</a:t>
              </a:r>
            </a:p>
          </p:txBody>
        </p:sp>
        <p:sp>
          <p:nvSpPr>
            <p:cNvPr id="20" name="平行四边形 19"/>
            <p:cNvSpPr/>
            <p:nvPr/>
          </p:nvSpPr>
          <p:spPr>
            <a:xfrm>
              <a:off x="1893" y="1447"/>
              <a:ext cx="796" cy="1432"/>
            </a:xfrm>
            <a:prstGeom prst="parallelogram">
              <a:avLst>
                <a:gd name="adj" fmla="val 54659"/>
              </a:avLst>
            </a:prstGeom>
            <a:solidFill>
              <a:srgbClr val="FACE00"/>
            </a:solidFill>
            <a:ln w="9525" cap="flat" cmpd="sng" algn="ctr">
              <a:solidFill>
                <a:srgbClr val="FACE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algn="ctr"/>
              <a:endPara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" name="Text 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381000"/>
            <a:ext cx="672719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defTabSz="675005" eaLnBrk="1" hangingPunct="1">
              <a:defRPr sz="2000">
                <a:ea typeface="黑体" panose="02010609060101010101" charset="-122"/>
                <a:cs typeface="Arial" panose="020B0604020202020204" pitchFamily="34" charset="0"/>
              </a:defRPr>
            </a:lvl1pPr>
            <a:lvl2pPr marL="742950" indent="-285750" defTabSz="675005" eaLnBrk="0" hangingPunct="0"/>
            <a:lvl3pPr marL="1143000" indent="-228600" defTabSz="675005" eaLnBrk="0" hangingPunct="0"/>
            <a:lvl4pPr marL="1600200" indent="-228600" defTabSz="675005" eaLnBrk="0" hangingPunct="0"/>
            <a:lvl5pPr marL="2057400" indent="-228600" defTabSz="675005" eaLnBrk="0" hangingPunct="0"/>
            <a:lvl6pPr marL="2514600" indent="-228600" defTabSz="67500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67500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67500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67500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12700" fontAlgn="base">
              <a:spcBef>
                <a:spcPct val="50000"/>
              </a:spcBef>
              <a:spcAft>
                <a:spcPct val="0"/>
              </a:spcAft>
            </a:pPr>
            <a:r>
              <a:rPr kumimoji="1"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成都</a:t>
            </a:r>
            <a:r>
              <a:rPr kumimoji="1" 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成本控制情况</a:t>
            </a:r>
            <a:r>
              <a:rPr kumimoji="1"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</a:t>
            </a:r>
            <a:r>
              <a:rPr kumimoji="1"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人效（</a:t>
            </a:r>
            <a:r>
              <a:rPr kumimoji="1"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kw41</a:t>
            </a:r>
            <a:r>
              <a:rPr kumimoji="1"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</a:p>
        </p:txBody>
      </p:sp>
      <p:graphicFrame>
        <p:nvGraphicFramePr>
          <p:cNvPr id="10" name="Chart 1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1124919"/>
              </p:ext>
            </p:extLst>
          </p:nvPr>
        </p:nvGraphicFramePr>
        <p:xfrm>
          <a:off x="349720" y="2636875"/>
          <a:ext cx="5379899" cy="3036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对象 5">
            <a:extLst>
              <a:ext uri="{FF2B5EF4-FFF2-40B4-BE49-F238E27FC236}">
                <a16:creationId xmlns:a16="http://schemas.microsoft.com/office/drawing/2014/main" id="{54F4E21A-A2DE-4C11-878E-C3BA5E440D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3684561"/>
              </p:ext>
            </p:extLst>
          </p:nvPr>
        </p:nvGraphicFramePr>
        <p:xfrm>
          <a:off x="6193049" y="1805501"/>
          <a:ext cx="2323344" cy="50789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Worksheet" r:id="rId5" imgW="2638641" imgH="6924511" progId="Excel.Sheet.12">
                  <p:embed/>
                </p:oleObj>
              </mc:Choice>
              <mc:Fallback>
                <p:oleObj name="Worksheet" r:id="rId5" imgW="2638641" imgH="692451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93049" y="1805501"/>
                        <a:ext cx="2323344" cy="50789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对象 7">
            <a:extLst>
              <a:ext uri="{FF2B5EF4-FFF2-40B4-BE49-F238E27FC236}">
                <a16:creationId xmlns:a16="http://schemas.microsoft.com/office/drawing/2014/main" id="{EE595824-A4EB-40BD-AC22-605074075B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73959046"/>
              </p:ext>
            </p:extLst>
          </p:nvPr>
        </p:nvGraphicFramePr>
        <p:xfrm>
          <a:off x="9315450" y="1805501"/>
          <a:ext cx="2222863" cy="50789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Worksheet" r:id="rId7" imgW="2638641" imgH="6924511" progId="Excel.Sheet.12">
                  <p:embed/>
                </p:oleObj>
              </mc:Choice>
              <mc:Fallback>
                <p:oleObj name="Worksheet" r:id="rId7" imgW="2638641" imgH="692451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315450" y="1805501"/>
                        <a:ext cx="2222863" cy="50789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2679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270" y="918210"/>
            <a:ext cx="12190730" cy="914400"/>
            <a:chOff x="2" y="1446"/>
            <a:chExt cx="19198" cy="1433"/>
          </a:xfrm>
        </p:grpSpPr>
        <p:sp>
          <p:nvSpPr>
            <p:cNvPr id="3" name="矩形 2"/>
            <p:cNvSpPr/>
            <p:nvPr/>
          </p:nvSpPr>
          <p:spPr>
            <a:xfrm>
              <a:off x="2" y="1446"/>
              <a:ext cx="19198" cy="1432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algn="ctr"/>
              <a:endParaRPr lang="zh-CN" altLang="en-US" sz="1100"/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315" y="1734"/>
              <a:ext cx="1659" cy="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600" dirty="0">
                  <a:solidFill>
                    <a:srgbClr val="00336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CTION TITLE</a:t>
              </a:r>
            </a:p>
          </p:txBody>
        </p:sp>
        <p:sp>
          <p:nvSpPr>
            <p:cNvPr id="20" name="平行四边形 19"/>
            <p:cNvSpPr/>
            <p:nvPr/>
          </p:nvSpPr>
          <p:spPr>
            <a:xfrm>
              <a:off x="1893" y="1447"/>
              <a:ext cx="796" cy="1432"/>
            </a:xfrm>
            <a:prstGeom prst="parallelogram">
              <a:avLst>
                <a:gd name="adj" fmla="val 54659"/>
              </a:avLst>
            </a:prstGeom>
            <a:solidFill>
              <a:srgbClr val="FACE00"/>
            </a:solidFill>
            <a:ln w="9525" cap="flat" cmpd="sng" algn="ctr">
              <a:solidFill>
                <a:srgbClr val="FACE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tlCol="0" anchor="ctr"/>
            <a:lstStyle/>
            <a:p>
              <a:pPr algn="ctr"/>
              <a:endParaRPr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" name="Text 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381000"/>
            <a:ext cx="672719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defTabSz="675005" eaLnBrk="1" hangingPunct="1">
              <a:defRPr sz="2000">
                <a:ea typeface="黑体" panose="02010609060101010101" charset="-122"/>
                <a:cs typeface="Arial" panose="020B0604020202020204" pitchFamily="34" charset="0"/>
              </a:defRPr>
            </a:lvl1pPr>
            <a:lvl2pPr marL="742950" indent="-285750" defTabSz="675005" eaLnBrk="0" hangingPunct="0"/>
            <a:lvl3pPr marL="1143000" indent="-228600" defTabSz="675005" eaLnBrk="0" hangingPunct="0"/>
            <a:lvl4pPr marL="1600200" indent="-228600" defTabSz="675005" eaLnBrk="0" hangingPunct="0"/>
            <a:lvl5pPr marL="2057400" indent="-228600" defTabSz="675005" eaLnBrk="0" hangingPunct="0"/>
            <a:lvl6pPr marL="2514600" indent="-228600" defTabSz="675005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675005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675005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675005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12700" fontAlgn="base">
              <a:spcBef>
                <a:spcPct val="50000"/>
              </a:spcBef>
              <a:spcAft>
                <a:spcPct val="0"/>
              </a:spcAft>
            </a:pPr>
            <a:r>
              <a:rPr kumimoji="1"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成都</a:t>
            </a:r>
            <a:r>
              <a:rPr kumimoji="1" 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成本控制情况</a:t>
            </a:r>
            <a:r>
              <a:rPr kumimoji="1"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</a:t>
            </a:r>
            <a:r>
              <a:rPr kumimoji="1"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人效（</a:t>
            </a:r>
            <a:r>
              <a:rPr kumimoji="1"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kw41</a:t>
            </a:r>
            <a:r>
              <a:rPr kumimoji="1"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</a:p>
        </p:txBody>
      </p:sp>
      <p:sp>
        <p:nvSpPr>
          <p:cNvPr id="13" name="圆角矩形 35">
            <a:extLst>
              <a:ext uri="{FF2B5EF4-FFF2-40B4-BE49-F238E27FC236}">
                <a16:creationId xmlns:a16="http://schemas.microsoft.com/office/drawing/2014/main" id="{19FB7F42-122A-4F2D-8DFA-16366E4CF8F6}"/>
              </a:ext>
            </a:extLst>
          </p:cNvPr>
          <p:cNvSpPr/>
          <p:nvPr/>
        </p:nvSpPr>
        <p:spPr>
          <a:xfrm>
            <a:off x="2255520" y="1122265"/>
            <a:ext cx="5259604" cy="505651"/>
          </a:xfrm>
          <a:prstGeom prst="roundRect">
            <a:avLst/>
          </a:prstGeom>
          <a:solidFill>
            <a:srgbClr val="4F80B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城市工单总量：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26A0D73-36C6-4795-A735-921448C44939}"/>
              </a:ext>
            </a:extLst>
          </p:cNvPr>
          <p:cNvSpPr txBox="1"/>
          <p:nvPr/>
        </p:nvSpPr>
        <p:spPr>
          <a:xfrm>
            <a:off x="5767238" y="1209248"/>
            <a:ext cx="1040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782105</a:t>
            </a:r>
            <a:endParaRPr lang="zh-CN" altLang="en-US" dirty="0"/>
          </a:p>
        </p:txBody>
      </p:sp>
      <p:sp>
        <p:nvSpPr>
          <p:cNvPr id="17" name="圆角矩形 40">
            <a:extLst>
              <a:ext uri="{FF2B5EF4-FFF2-40B4-BE49-F238E27FC236}">
                <a16:creationId xmlns:a16="http://schemas.microsoft.com/office/drawing/2014/main" id="{1A4B282C-71BF-4E2A-AAFB-02EB4582BB88}"/>
              </a:ext>
            </a:extLst>
          </p:cNvPr>
          <p:cNvSpPr/>
          <p:nvPr/>
        </p:nvSpPr>
        <p:spPr>
          <a:xfrm>
            <a:off x="6616407" y="1831971"/>
            <a:ext cx="5529603" cy="330443"/>
          </a:xfrm>
          <a:prstGeom prst="roundRect">
            <a:avLst/>
          </a:prstGeom>
          <a:solidFill>
            <a:srgbClr val="62C5E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100" dirty="0"/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307529D-1B07-4A71-BC74-0DC02B7C014B}"/>
              </a:ext>
            </a:extLst>
          </p:cNvPr>
          <p:cNvSpPr txBox="1"/>
          <p:nvPr/>
        </p:nvSpPr>
        <p:spPr>
          <a:xfrm>
            <a:off x="8206153" y="1803640"/>
            <a:ext cx="257907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工单类型构成</a:t>
            </a:r>
          </a:p>
          <a:p>
            <a:endParaRPr lang="zh-CN" altLang="en-US" dirty="0"/>
          </a:p>
        </p:txBody>
      </p:sp>
      <p:graphicFrame>
        <p:nvGraphicFramePr>
          <p:cNvPr id="18" name="Chart 1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1698717"/>
              </p:ext>
            </p:extLst>
          </p:nvPr>
        </p:nvGraphicFramePr>
        <p:xfrm>
          <a:off x="-60642" y="1598099"/>
          <a:ext cx="675915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Chart 2">
            <a:extLst>
              <a:ext uri="{FF2B5EF4-FFF2-40B4-BE49-F238E27FC236}">
                <a16:creationId xmlns:a16="http://schemas.microsoft.com/office/drawing/2014/main" id="{00000000-0008-0000-03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0531771"/>
              </p:ext>
            </p:extLst>
          </p:nvPr>
        </p:nvGraphicFramePr>
        <p:xfrm>
          <a:off x="-32068" y="4112319"/>
          <a:ext cx="675184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对象 4">
            <a:extLst>
              <a:ext uri="{FF2B5EF4-FFF2-40B4-BE49-F238E27FC236}">
                <a16:creationId xmlns:a16="http://schemas.microsoft.com/office/drawing/2014/main" id="{6FAE8079-A26D-49A8-95A8-8022373D915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5346429"/>
              </p:ext>
            </p:extLst>
          </p:nvPr>
        </p:nvGraphicFramePr>
        <p:xfrm>
          <a:off x="6644981" y="2162413"/>
          <a:ext cx="5501029" cy="4695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Worksheet" r:id="rId6" imgW="4619841" imgH="4057650" progId="Excel.Sheet.12">
                  <p:embed/>
                </p:oleObj>
              </mc:Choice>
              <mc:Fallback>
                <p:oleObj name="Worksheet" r:id="rId6" imgW="4619841" imgH="405765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644981" y="2162413"/>
                        <a:ext cx="5501029" cy="4695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85900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N2YzNjBkOTgyNWQ1YTMxYzM3MzMwNWFiODNmOWIzYWM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IxLycxqk2UrDgCcw3l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IxLycxqk2UrDgCcw3lxA"/>
</p:tagLst>
</file>

<file path=ppt/theme/theme1.xml><?xml version="1.0" encoding="utf-8"?>
<a:theme xmlns:a="http://schemas.openxmlformats.org/drawingml/2006/main" name="6_标题页模板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方正兰亭黑">
      <a:majorFont>
        <a:latin typeface="等线 Light"/>
        <a:ea typeface="方正兰亭粗黑_GBK"/>
        <a:cs typeface=""/>
      </a:majorFont>
      <a:minorFont>
        <a:latin typeface="等线"/>
        <a:ea typeface="方正兰亭黑_GBK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标题页模板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方正兰亭黑">
      <a:majorFont>
        <a:latin typeface="等线 Light"/>
        <a:ea typeface="方正兰亭粗黑_GBK"/>
        <a:cs typeface=""/>
      </a:majorFont>
      <a:minorFont>
        <a:latin typeface="等线"/>
        <a:ea typeface="方正兰亭黑_GBK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标题页模板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方正兰亭黑">
      <a:majorFont>
        <a:latin typeface="等线 Light"/>
        <a:ea typeface="方正兰亭粗黑_GBK"/>
        <a:cs typeface=""/>
      </a:majorFont>
      <a:minorFont>
        <a:latin typeface="等线"/>
        <a:ea typeface="方正兰亭黑_GBK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标题页模板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方正兰亭黑">
      <a:majorFont>
        <a:latin typeface="等线 Light"/>
        <a:ea typeface="方正兰亭粗黑_GBK"/>
        <a:cs typeface=""/>
      </a:majorFont>
      <a:minorFont>
        <a:latin typeface="等线"/>
        <a:ea typeface="方正兰亭黑_GBK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标题页模板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内容页模板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76</TotalTime>
  <Words>45</Words>
  <Application>Microsoft Office PowerPoint</Application>
  <PresentationFormat>宽屏</PresentationFormat>
  <Paragraphs>10</Paragraphs>
  <Slides>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6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4" baseType="lpstr">
      <vt:lpstr>等线</vt:lpstr>
      <vt:lpstr>方正兰亭细黑_GBK</vt:lpstr>
      <vt:lpstr>微软雅黑</vt:lpstr>
      <vt:lpstr>Arial</vt:lpstr>
      <vt:lpstr>Calibri</vt:lpstr>
      <vt:lpstr>6_标题页模板​​</vt:lpstr>
      <vt:lpstr>7_标题页模板​​</vt:lpstr>
      <vt:lpstr>1_标题页模板​​</vt:lpstr>
      <vt:lpstr>5_标题页模板​​</vt:lpstr>
      <vt:lpstr>标题页模板​​</vt:lpstr>
      <vt:lpstr>内容页模板​​</vt:lpstr>
      <vt:lpstr>Microsoft Excel 工作表</vt:lpstr>
      <vt:lpstr>PowerPoint 演示文稿</vt:lpstr>
      <vt:lpstr>PowerPoint 演示文稿</vt:lpstr>
    </vt:vector>
  </TitlesOfParts>
  <Company>faw-v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Teng.Ziyao</dc:creator>
  <cp:lastModifiedBy>Administrator</cp:lastModifiedBy>
  <cp:revision>132</cp:revision>
  <dcterms:created xsi:type="dcterms:W3CDTF">2022-07-27T01:04:00Z</dcterms:created>
  <dcterms:modified xsi:type="dcterms:W3CDTF">2022-10-18T08:5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46ED980045A8454E8CEE044F29D732C7</vt:lpwstr>
  </property>
  <property fmtid="{D5CDD505-2E9C-101B-9397-08002B2CF9AE}" pid="3" name="KSOProductBuildVer">
    <vt:lpwstr>2052-11.1.0.12358</vt:lpwstr>
  </property>
</Properties>
</file>